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6"/>
  </p:sldMasterIdLst>
  <p:notesMasterIdLst>
    <p:notesMasterId r:id="rId20"/>
  </p:notesMasterIdLst>
  <p:handoutMasterIdLst>
    <p:handoutMasterId r:id="rId21"/>
  </p:handoutMasterIdLst>
  <p:sldIdLst>
    <p:sldId id="1606" r:id="rId7"/>
    <p:sldId id="1891" r:id="rId8"/>
    <p:sldId id="1887" r:id="rId9"/>
    <p:sldId id="1889" r:id="rId10"/>
    <p:sldId id="1903" r:id="rId11"/>
    <p:sldId id="1895" r:id="rId12"/>
    <p:sldId id="1896" r:id="rId13"/>
    <p:sldId id="1898" r:id="rId14"/>
    <p:sldId id="1897" r:id="rId15"/>
    <p:sldId id="1901" r:id="rId16"/>
    <p:sldId id="1890" r:id="rId17"/>
    <p:sldId id="1688" r:id="rId18"/>
    <p:sldId id="1689" r:id="rId19"/>
  </p:sldIdLst>
  <p:sldSz cx="9144000" cy="5143500" type="screen16x9"/>
  <p:notesSz cx="6797675" cy="9926638"/>
  <p:custDataLst>
    <p:tags r:id="rId2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67" userDrawn="1">
          <p15:clr>
            <a:srgbClr val="A4A3A4"/>
          </p15:clr>
        </p15:guide>
        <p15:guide id="3" orient="horz" pos="667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2913" userDrawn="1">
          <p15:clr>
            <a:srgbClr val="A4A3A4"/>
          </p15:clr>
        </p15:guide>
        <p15:guide id="6" pos="340" userDrawn="1">
          <p15:clr>
            <a:srgbClr val="A4A3A4"/>
          </p15:clr>
        </p15:guide>
        <p15:guide id="7" pos="5420" userDrawn="1">
          <p15:clr>
            <a:srgbClr val="A4A3A4"/>
          </p15:clr>
        </p15:guide>
        <p15:guide id="8" orient="horz" pos="3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uwen, Milou" initials="TM" lastIdx="31" clrIdx="0">
    <p:extLst>
      <p:ext uri="{19B8F6BF-5375-455C-9EA6-DF929625EA0E}">
        <p15:presenceInfo xmlns:p15="http://schemas.microsoft.com/office/powerpoint/2012/main" userId="S::mteeuwen@deloitte.nl::dc92751d-3eb6-40ec-98a3-3a0ab7af2961" providerId="AD"/>
      </p:ext>
    </p:extLst>
  </p:cmAuthor>
  <p:cmAuthor id="2" name="Diender, Lotte" initials="DL" lastIdx="22" clrIdx="1">
    <p:extLst>
      <p:ext uri="{19B8F6BF-5375-455C-9EA6-DF929625EA0E}">
        <p15:presenceInfo xmlns:p15="http://schemas.microsoft.com/office/powerpoint/2012/main" userId="S::ldiender@deloitte.nl::a25643a3-def9-4902-9c38-c4751fb5841c" providerId="AD"/>
      </p:ext>
    </p:extLst>
  </p:cmAuthor>
  <p:cmAuthor id="3" name="van Hulten, Rogier" initials="vHR" lastIdx="4" clrIdx="2">
    <p:extLst>
      <p:ext uri="{19B8F6BF-5375-455C-9EA6-DF929625EA0E}">
        <p15:presenceInfo xmlns:p15="http://schemas.microsoft.com/office/powerpoint/2012/main" userId="S::rvanhulten@deloitte.nl::1429d447-f26b-4858-9db1-ef53e5493e15" providerId="AD"/>
      </p:ext>
    </p:extLst>
  </p:cmAuthor>
  <p:cmAuthor id="4" name="E.L. van der Beek" initials="EvdB" lastIdx="2" clrIdx="3">
    <p:extLst>
      <p:ext uri="{19B8F6BF-5375-455C-9EA6-DF929625EA0E}">
        <p15:presenceInfo xmlns:p15="http://schemas.microsoft.com/office/powerpoint/2012/main" userId="S-1-5-21-932686498-1610486119-1155464205-187354" providerId="AD"/>
      </p:ext>
    </p:extLst>
  </p:cmAuthor>
  <p:cmAuthor id="5" name="Maarten Timmermann" initials="MT" lastIdx="99" clrIdx="4">
    <p:extLst>
      <p:ext uri="{19B8F6BF-5375-455C-9EA6-DF929625EA0E}">
        <p15:presenceInfo xmlns:p15="http://schemas.microsoft.com/office/powerpoint/2012/main" userId="S-1-5-21-932686498-1610486119-1155464205-140084" providerId="AD"/>
      </p:ext>
    </p:extLst>
  </p:cmAuthor>
  <p:cmAuthor id="6" name="Jelle Egas" initials="JE" lastIdx="9" clrIdx="5">
    <p:extLst>
      <p:ext uri="{19B8F6BF-5375-455C-9EA6-DF929625EA0E}">
        <p15:presenceInfo xmlns:p15="http://schemas.microsoft.com/office/powerpoint/2012/main" userId="Jelle Eg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074"/>
    <a:srgbClr val="86D2ED"/>
    <a:srgbClr val="005587"/>
    <a:srgbClr val="00A3E0"/>
    <a:srgbClr val="D9D9D9"/>
    <a:srgbClr val="A6A6A6"/>
    <a:srgbClr val="619AAE"/>
    <a:srgbClr val="70B1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BB4395-3BF6-4C00-B073-0F6181773E87}" v="199" dt="2020-06-08T09:17:32.204"/>
    <p1510:client id="{0E55273A-2C9E-4D44-A757-7C4345CA91EA}" v="1463" dt="2020-05-27T06:07:51.500"/>
    <p1510:client id="{13D99AF4-3FF6-461B-B3D3-BB8BFE4C2D9E}" v="1133" dt="2020-06-09T12:19:46.767"/>
    <p1510:client id="{25BC76C5-7929-4366-874C-375EDE048315}" v="69" dt="2020-06-10T14:24:22.865"/>
    <p1510:client id="{2EFDF35E-405D-41FB-905B-FBD7240E3923}" v="7" dt="2020-05-26T15:31:35.314"/>
    <p1510:client id="{4B95A8CF-3C49-4C1E-97EC-FC09D5E149C6}" v="64" dt="2020-06-10T13:06:34.012"/>
    <p1510:client id="{69383FC3-6FAF-479F-9C1D-F121CE692E71}" v="1" dt="2020-07-06T13:16:29.570"/>
    <p1510:client id="{7ADE9ADE-60A9-4BFD-BC35-7C735EA8A156}" v="186" dt="2020-06-08T19:46:40.870"/>
    <p1510:client id="{845F8CAA-D72B-4866-89F2-037694FED739}" v="1635" dt="2020-06-08T19:42:47.449"/>
    <p1510:client id="{9205605F-21F3-4785-AE9B-1685DC51ADC8}" v="79" dt="2020-06-15T10:19:08.312"/>
    <p1510:client id="{98A43766-2BBF-4F08-95BE-0E3ED0D3DB01}" v="3" dt="2020-06-10T13:51:27.414"/>
    <p1510:client id="{9A664F51-8181-47D9-8B14-2EB91FAC445D}" v="18" dt="2020-06-24T19:47:12.374"/>
    <p1510:client id="{A8CE2716-B047-47C2-8C64-4B390A868806}" v="463" dt="2020-06-09T12:31:12.455"/>
    <p1510:client id="{BA931B42-1839-447C-97AF-A8F37B9A6825}" v="7" dt="2020-07-06T13:10:31.414"/>
    <p1510:client id="{C1718753-4D8F-4557-A9E3-2AE6500B1429}" v="104" dt="2020-06-15T11:36:46.756"/>
    <p1510:client id="{C1E18C11-8F69-4D6C-8675-6A704AF64CBF}" v="377" dt="2020-07-06T12:47:47.611"/>
    <p1510:client id="{C56F7240-CF2A-4683-A730-5E2AB6FA7C24}" v="96" dt="2020-06-16T12:56:58.901"/>
    <p1510:client id="{DE1863E5-152B-4FD8-95AE-08BA00A7672D}" v="2184" dt="2020-06-10T14:18:41.789"/>
    <p1510:client id="{E263ADA0-5DDE-4436-A24E-4A68A3C2CD1C}" v="17" dt="2020-06-09T06:51:41.719"/>
    <p1510:client id="{E4A39C48-F003-4CDE-B382-ED946049CEE9}" v="53" dt="2020-06-25T12:42:48.319"/>
    <p1510:client id="{E7BB8FA3-26D4-4F95-B5C3-A5C039F1B919}" v="1249" dt="2020-06-08T09:43:14.321"/>
    <p1510:client id="{F27A66E6-6D0B-4058-B4B7-7786D7FB183F}" v="27100" dt="2020-05-26T13:05:23.0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99" autoAdjust="0"/>
    <p:restoredTop sz="85995" autoAdjust="0"/>
  </p:normalViewPr>
  <p:slideViewPr>
    <p:cSldViewPr snapToGrid="0">
      <p:cViewPr varScale="1">
        <p:scale>
          <a:sx n="71" d="100"/>
          <a:sy n="71" d="100"/>
        </p:scale>
        <p:origin x="64" y="96"/>
      </p:cViewPr>
      <p:guideLst>
        <p:guide orient="horz" pos="2867"/>
        <p:guide orient="horz" pos="667"/>
        <p:guide orient="horz" pos="713"/>
        <p:guide orient="horz" pos="2913"/>
        <p:guide pos="340"/>
        <p:guide pos="5420"/>
        <p:guide orient="horz" pos="30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97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9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. Dullaart" userId="S::r.dullaart@erasmusmc.nl::1cca4027-7734-4ca1-9e2d-fc3a9c66ab6a" providerId="AD" clId="Web-{DE1863E5-152B-4FD8-95AE-08BA00A7672D}"/>
    <pc:docChg chg="addSld modSld sldOrd">
      <pc:chgData name="R. Dullaart" userId="S::r.dullaart@erasmusmc.nl::1cca4027-7734-4ca1-9e2d-fc3a9c66ab6a" providerId="AD" clId="Web-{DE1863E5-152B-4FD8-95AE-08BA00A7672D}" dt="2020-06-10T14:18:41.789" v="2108" actId="20577"/>
      <pc:docMkLst>
        <pc:docMk/>
      </pc:docMkLst>
      <pc:sldChg chg="modSp">
        <pc:chgData name="R. Dullaart" userId="S::r.dullaart@erasmusmc.nl::1cca4027-7734-4ca1-9e2d-fc3a9c66ab6a" providerId="AD" clId="Web-{DE1863E5-152B-4FD8-95AE-08BA00A7672D}" dt="2020-06-10T13:45:43.219" v="462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DE1863E5-152B-4FD8-95AE-08BA00A7672D}" dt="2020-06-10T13:45:43.219" v="462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39:28.984" v="46" actId="1076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DE1863E5-152B-4FD8-95AE-08BA00A7672D}" dt="2020-06-10T13:36:23.765" v="8" actId="20577"/>
          <ac:spMkLst>
            <pc:docMk/>
            <pc:sldMk cId="3667281723" sldId="1535"/>
            <ac:spMk id="4" creationId="{6E2F580C-C29F-4815-BC48-12A952FAACAA}"/>
          </ac:spMkLst>
        </pc:spChg>
        <pc:spChg chg="mod">
          <ac:chgData name="R. Dullaart" userId="S::r.dullaart@erasmusmc.nl::1cca4027-7734-4ca1-9e2d-fc3a9c66ab6a" providerId="AD" clId="Web-{DE1863E5-152B-4FD8-95AE-08BA00A7672D}" dt="2020-06-10T13:38:10.109" v="17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DE1863E5-152B-4FD8-95AE-08BA00A7672D}" dt="2020-06-10T13:38:51.062" v="37" actId="20577"/>
          <ac:spMkLst>
            <pc:docMk/>
            <pc:sldMk cId="3667281723" sldId="1535"/>
            <ac:spMk id="18" creationId="{44263073-2248-4C78-86D6-8B5AAB11BE09}"/>
          </ac:spMkLst>
        </pc:spChg>
        <pc:spChg chg="mod">
          <ac:chgData name="R. Dullaart" userId="S::r.dullaart@erasmusmc.nl::1cca4027-7734-4ca1-9e2d-fc3a9c66ab6a" providerId="AD" clId="Web-{DE1863E5-152B-4FD8-95AE-08BA00A7672D}" dt="2020-06-10T13:39:28.937" v="45" actId="1076"/>
          <ac:spMkLst>
            <pc:docMk/>
            <pc:sldMk cId="3667281723" sldId="1535"/>
            <ac:spMk id="19" creationId="{07A056A1-ED51-46B7-BF14-646E3359BB6F}"/>
          </ac:spMkLst>
        </pc:spChg>
        <pc:spChg chg="mod">
          <ac:chgData name="R. Dullaart" userId="S::r.dullaart@erasmusmc.nl::1cca4027-7734-4ca1-9e2d-fc3a9c66ab6a" providerId="AD" clId="Web-{DE1863E5-152B-4FD8-95AE-08BA00A7672D}" dt="2020-06-10T13:39:28.984" v="46" actId="1076"/>
          <ac:spMkLst>
            <pc:docMk/>
            <pc:sldMk cId="3667281723" sldId="1535"/>
            <ac:spMk id="20" creationId="{2E0FBD00-E26A-4430-BD42-D84EE457695C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47:44.751" v="629" actId="20577"/>
        <pc:sldMkLst>
          <pc:docMk/>
          <pc:sldMk cId="2899407636" sldId="1540"/>
        </pc:sldMkLst>
        <pc:spChg chg="mod">
          <ac:chgData name="R. Dullaart" userId="S::r.dullaart@erasmusmc.nl::1cca4027-7734-4ca1-9e2d-fc3a9c66ab6a" providerId="AD" clId="Web-{DE1863E5-152B-4FD8-95AE-08BA00A7672D}" dt="2020-06-10T13:47:44.751" v="629" actId="20577"/>
          <ac:spMkLst>
            <pc:docMk/>
            <pc:sldMk cId="2899407636" sldId="154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3:57.440" v="881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DE1863E5-152B-4FD8-95AE-08BA00A7672D}" dt="2020-06-10T13:53:57.440" v="881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4:04:23.723" v="1314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DE1863E5-152B-4FD8-95AE-08BA00A7672D}" dt="2020-06-10T14:04:23.723" v="1314" actId="20577"/>
          <ac:spMkLst>
            <pc:docMk/>
            <pc:sldMk cId="3303679437" sldId="1542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4:18:41.789" v="210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DE1863E5-152B-4FD8-95AE-08BA00A7672D}" dt="2020-06-10T14:18:41.789" v="2107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1:54.252" v="875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DE1863E5-152B-4FD8-95AE-08BA00A7672D}" dt="2020-06-10T13:51:54.252" v="875" actId="20577"/>
          <ac:spMkLst>
            <pc:docMk/>
            <pc:sldMk cId="2288471913" sldId="1545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DE1863E5-152B-4FD8-95AE-08BA00A7672D}" dt="2020-06-10T13:56:49.456" v="972" actId="1076"/>
        <pc:sldMkLst>
          <pc:docMk/>
          <pc:sldMk cId="2056646906" sldId="1546"/>
        </pc:sldMkLst>
        <pc:spChg chg="mod">
          <ac:chgData name="R. Dullaart" userId="S::r.dullaart@erasmusmc.nl::1cca4027-7734-4ca1-9e2d-fc3a9c66ab6a" providerId="AD" clId="Web-{DE1863E5-152B-4FD8-95AE-08BA00A7672D}" dt="2020-06-10T13:56:13.347" v="966" actId="20577"/>
          <ac:spMkLst>
            <pc:docMk/>
            <pc:sldMk cId="2056646906" sldId="1546"/>
            <ac:spMk id="11" creationId="{38708741-921B-494A-B54A-1C0279A205B2}"/>
          </ac:spMkLst>
        </pc:spChg>
        <pc:graphicFrameChg chg="mod modGraphic">
          <ac:chgData name="R. Dullaart" userId="S::r.dullaart@erasmusmc.nl::1cca4027-7734-4ca1-9e2d-fc3a9c66ab6a" providerId="AD" clId="Web-{DE1863E5-152B-4FD8-95AE-08BA00A7672D}" dt="2020-06-10T13:56:37.472" v="971"/>
          <ac:graphicFrameMkLst>
            <pc:docMk/>
            <pc:sldMk cId="2056646906" sldId="1546"/>
            <ac:graphicFrameMk id="7" creationId="{32FAA5C1-CD65-448C-8E45-C31529E15E63}"/>
          </ac:graphicFrameMkLst>
        </pc:graphicFrameChg>
        <pc:picChg chg="mod">
          <ac:chgData name="R. Dullaart" userId="S::r.dullaart@erasmusmc.nl::1cca4027-7734-4ca1-9e2d-fc3a9c66ab6a" providerId="AD" clId="Web-{DE1863E5-152B-4FD8-95AE-08BA00A7672D}" dt="2020-06-10T13:56:49.456" v="972" actId="1076"/>
          <ac:picMkLst>
            <pc:docMk/>
            <pc:sldMk cId="2056646906" sldId="1546"/>
            <ac:picMk id="4" creationId="{D6FCB8F2-3B29-4F87-878E-97A62230E3A3}"/>
          </ac:picMkLst>
        </pc:picChg>
      </pc:sldChg>
      <pc:sldChg chg="addSp delSp modSp">
        <pc:chgData name="R. Dullaart" userId="S::r.dullaart@erasmusmc.nl::1cca4027-7734-4ca1-9e2d-fc3a9c66ab6a" providerId="AD" clId="Web-{DE1863E5-152B-4FD8-95AE-08BA00A7672D}" dt="2020-06-10T14:00:57.488" v="1281" actId="20577"/>
        <pc:sldMkLst>
          <pc:docMk/>
          <pc:sldMk cId="3356465858" sldId="1547"/>
        </pc:sldMkLst>
        <pc:spChg chg="mod">
          <ac:chgData name="R. Dullaart" userId="S::r.dullaart@erasmusmc.nl::1cca4027-7734-4ca1-9e2d-fc3a9c66ab6a" providerId="AD" clId="Web-{DE1863E5-152B-4FD8-95AE-08BA00A7672D}" dt="2020-06-10T14:00:57.488" v="1281" actId="20577"/>
          <ac:spMkLst>
            <pc:docMk/>
            <pc:sldMk cId="3356465858" sldId="1547"/>
            <ac:spMk id="16" creationId="{04D8F9DA-94EA-4705-AC9B-63473CE2E4E1}"/>
          </ac:spMkLst>
        </pc:spChg>
        <pc:picChg chg="add del mod">
          <ac:chgData name="R. Dullaart" userId="S::r.dullaart@erasmusmc.nl::1cca4027-7734-4ca1-9e2d-fc3a9c66ab6a" providerId="AD" clId="Web-{DE1863E5-152B-4FD8-95AE-08BA00A7672D}" dt="2020-06-10T13:58:46.253" v="1037"/>
          <ac:picMkLst>
            <pc:docMk/>
            <pc:sldMk cId="3356465858" sldId="1547"/>
            <ac:picMk id="3" creationId="{DFC5230B-ECD8-4FD5-B99E-A7B2963DEE65}"/>
          </ac:picMkLst>
        </pc:picChg>
      </pc:sldChg>
      <pc:sldChg chg="addSp delSp modSp add ord replId">
        <pc:chgData name="R. Dullaart" userId="S::r.dullaart@erasmusmc.nl::1cca4027-7734-4ca1-9e2d-fc3a9c66ab6a" providerId="AD" clId="Web-{DE1863E5-152B-4FD8-95AE-08BA00A7672D}" dt="2020-06-10T14:12:41.225" v="1881"/>
        <pc:sldMkLst>
          <pc:docMk/>
          <pc:sldMk cId="4165443020" sldId="1548"/>
        </pc:sldMkLst>
        <pc:spChg chg="mod">
          <ac:chgData name="R. Dullaart" userId="S::r.dullaart@erasmusmc.nl::1cca4027-7734-4ca1-9e2d-fc3a9c66ab6a" providerId="AD" clId="Web-{DE1863E5-152B-4FD8-95AE-08BA00A7672D}" dt="2020-06-10T14:04:44.301" v="1335" actId="20577"/>
          <ac:spMkLst>
            <pc:docMk/>
            <pc:sldMk cId="4165443020" sldId="1548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DE1863E5-152B-4FD8-95AE-08BA00A7672D}" dt="2020-06-10T14:02:33.989" v="1303" actId="20577"/>
          <ac:spMkLst>
            <pc:docMk/>
            <pc:sldMk cId="4165443020" sldId="1548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DE1863E5-152B-4FD8-95AE-08BA00A7672D}" dt="2020-06-10T14:08:25.443" v="1552" actId="20577"/>
          <ac:spMkLst>
            <pc:docMk/>
            <pc:sldMk cId="4165443020" sldId="1548"/>
            <ac:spMk id="191" creationId="{34F3CFC2-546F-4014-B280-8473C2B303A9}"/>
          </ac:spMkLst>
        </pc:spChg>
        <pc:graphicFrameChg chg="del">
          <ac:chgData name="R. Dullaart" userId="S::r.dullaart@erasmusmc.nl::1cca4027-7734-4ca1-9e2d-fc3a9c66ab6a" providerId="AD" clId="Web-{DE1863E5-152B-4FD8-95AE-08BA00A7672D}" dt="2020-06-10T14:02:44.707" v="1304"/>
          <ac:graphicFrameMkLst>
            <pc:docMk/>
            <pc:sldMk cId="4165443020" sldId="1548"/>
            <ac:graphicFrameMk id="7" creationId="{32FAA5C1-CD65-448C-8E45-C31529E15E63}"/>
          </ac:graphicFrameMkLst>
        </pc:graphicFrameChg>
        <pc:graphicFrameChg chg="add mod modGraphic">
          <ac:chgData name="R. Dullaart" userId="S::r.dullaart@erasmusmc.nl::1cca4027-7734-4ca1-9e2d-fc3a9c66ab6a" providerId="AD" clId="Web-{DE1863E5-152B-4FD8-95AE-08BA00A7672D}" dt="2020-06-10T14:12:41.225" v="1881"/>
          <ac:graphicFrameMkLst>
            <pc:docMk/>
            <pc:sldMk cId="4165443020" sldId="1548"/>
            <ac:graphicFrameMk id="12" creationId="{B21E55B4-2706-40F1-B6CC-FE5130CA1AD6}"/>
          </ac:graphicFrameMkLst>
        </pc:graphicFrameChg>
        <pc:picChg chg="del">
          <ac:chgData name="R. Dullaart" userId="S::r.dullaart@erasmusmc.nl::1cca4027-7734-4ca1-9e2d-fc3a9c66ab6a" providerId="AD" clId="Web-{DE1863E5-152B-4FD8-95AE-08BA00A7672D}" dt="2020-06-10T14:02:46.364" v="1306"/>
          <ac:picMkLst>
            <pc:docMk/>
            <pc:sldMk cId="4165443020" sldId="1548"/>
            <ac:picMk id="4" creationId="{D6FCB8F2-3B29-4F87-878E-97A62230E3A3}"/>
          </ac:picMkLst>
        </pc:picChg>
        <pc:picChg chg="del">
          <ac:chgData name="R. Dullaart" userId="S::r.dullaart@erasmusmc.nl::1cca4027-7734-4ca1-9e2d-fc3a9c66ab6a" providerId="AD" clId="Web-{DE1863E5-152B-4FD8-95AE-08BA00A7672D}" dt="2020-06-10T14:02:45.614" v="1305"/>
          <ac:picMkLst>
            <pc:docMk/>
            <pc:sldMk cId="4165443020" sldId="1548"/>
            <ac:picMk id="5" creationId="{674E0867-423A-491E-A72D-7079A2074C47}"/>
          </ac:picMkLst>
        </pc:picChg>
        <pc:picChg chg="add mod">
          <ac:chgData name="R. Dullaart" userId="S::r.dullaart@erasmusmc.nl::1cca4027-7734-4ca1-9e2d-fc3a9c66ab6a" providerId="AD" clId="Web-{DE1863E5-152B-4FD8-95AE-08BA00A7672D}" dt="2020-06-10T14:08:19.912" v="1539" actId="1076"/>
          <ac:picMkLst>
            <pc:docMk/>
            <pc:sldMk cId="4165443020" sldId="1548"/>
            <ac:picMk id="6" creationId="{0942FFA3-110B-4E13-9799-2CBC5639BA79}"/>
          </ac:picMkLst>
        </pc:picChg>
      </pc:sldChg>
      <pc:sldChg chg="modSp add ord replId">
        <pc:chgData name="R. Dullaart" userId="S::r.dullaart@erasmusmc.nl::1cca4027-7734-4ca1-9e2d-fc3a9c66ab6a" providerId="AD" clId="Web-{DE1863E5-152B-4FD8-95AE-08BA00A7672D}" dt="2020-06-10T14:12:04.084" v="1875" actId="20577"/>
        <pc:sldMkLst>
          <pc:docMk/>
          <pc:sldMk cId="61933404" sldId="1549"/>
        </pc:sldMkLst>
        <pc:spChg chg="mod">
          <ac:chgData name="R. Dullaart" userId="S::r.dullaart@erasmusmc.nl::1cca4027-7734-4ca1-9e2d-fc3a9c66ab6a" providerId="AD" clId="Web-{DE1863E5-152B-4FD8-95AE-08BA00A7672D}" dt="2020-06-10T14:09:14.568" v="1576" actId="20577"/>
          <ac:spMkLst>
            <pc:docMk/>
            <pc:sldMk cId="61933404" sldId="1549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DE1863E5-152B-4FD8-95AE-08BA00A7672D}" dt="2020-06-10T14:12:04.084" v="1875" actId="20577"/>
          <ac:spMkLst>
            <pc:docMk/>
            <pc:sldMk cId="61933404" sldId="1549"/>
            <ac:spMk id="16" creationId="{04D8F9DA-94EA-4705-AC9B-63473CE2E4E1}"/>
          </ac:spMkLst>
        </pc:spChg>
      </pc:sldChg>
    </pc:docChg>
  </pc:docChgLst>
  <pc:docChgLst>
    <pc:chgData name="J.C.P. van der Bent" userId="S::j.vanderbent@erasmusmc.nl::0c48ee02-2914-488d-8fbe-dead6b51bcab" providerId="AD" clId="Web-{9A664F51-8181-47D9-8B14-2EB91FAC445D}"/>
    <pc:docChg chg="modSld">
      <pc:chgData name="J.C.P. van der Bent" userId="S::j.vanderbent@erasmusmc.nl::0c48ee02-2914-488d-8fbe-dead6b51bcab" providerId="AD" clId="Web-{9A664F51-8181-47D9-8B14-2EB91FAC445D}" dt="2020-06-24T19:47:11.327" v="16" actId="20577"/>
      <pc:docMkLst>
        <pc:docMk/>
      </pc:docMkLst>
      <pc:sldChg chg="delSp modSp">
        <pc:chgData name="J.C.P. van der Bent" userId="S::j.vanderbent@erasmusmc.nl::0c48ee02-2914-488d-8fbe-dead6b51bcab" providerId="AD" clId="Web-{9A664F51-8181-47D9-8B14-2EB91FAC445D}" dt="2020-06-24T19:47:11.139" v="14" actId="20577"/>
        <pc:sldMkLst>
          <pc:docMk/>
          <pc:sldMk cId="3608858532" sldId="1552"/>
        </pc:sldMkLst>
        <pc:spChg chg="mod">
          <ac:chgData name="J.C.P. van der Bent" userId="S::j.vanderbent@erasmusmc.nl::0c48ee02-2914-488d-8fbe-dead6b51bcab" providerId="AD" clId="Web-{9A664F51-8181-47D9-8B14-2EB91FAC445D}" dt="2020-06-24T19:47:11.139" v="14" actId="20577"/>
          <ac:spMkLst>
            <pc:docMk/>
            <pc:sldMk cId="3608858532" sldId="1552"/>
            <ac:spMk id="111" creationId="{2E0FBD00-E26A-4430-BD42-D84EE457695C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3"/>
          <ac:spMkLst>
            <pc:docMk/>
            <pc:sldMk cId="3608858532" sldId="1552"/>
            <ac:spMk id="149" creationId="{2E0FBD00-E26A-4430-BD42-D84EE457695C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2"/>
          <ac:spMkLst>
            <pc:docMk/>
            <pc:sldMk cId="3608858532" sldId="1552"/>
            <ac:spMk id="150" creationId="{CEC1888D-51A6-4C02-9B2C-A1DBEF16E3F7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1"/>
          <ac:spMkLst>
            <pc:docMk/>
            <pc:sldMk cId="3608858532" sldId="1552"/>
            <ac:spMk id="151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58" v="10"/>
          <ac:spMkLst>
            <pc:docMk/>
            <pc:sldMk cId="3608858532" sldId="1552"/>
            <ac:spMk id="152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9"/>
          <ac:spMkLst>
            <pc:docMk/>
            <pc:sldMk cId="3608858532" sldId="1552"/>
            <ac:spMk id="153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8"/>
          <ac:spMkLst>
            <pc:docMk/>
            <pc:sldMk cId="3608858532" sldId="1552"/>
            <ac:spMk id="154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7"/>
          <ac:spMkLst>
            <pc:docMk/>
            <pc:sldMk cId="3608858532" sldId="1552"/>
            <ac:spMk id="155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6"/>
          <ac:spMkLst>
            <pc:docMk/>
            <pc:sldMk cId="3608858532" sldId="1552"/>
            <ac:spMk id="156" creationId="{00000000-0000-0000-0000-000000000000}"/>
          </ac:spMkLst>
        </pc:spChg>
        <pc:spChg chg="del">
          <ac:chgData name="J.C.P. van der Bent" userId="S::j.vanderbent@erasmusmc.nl::0c48ee02-2914-488d-8fbe-dead6b51bcab" providerId="AD" clId="Web-{9A664F51-8181-47D9-8B14-2EB91FAC445D}" dt="2020-06-24T19:47:05.842" v="0"/>
          <ac:spMkLst>
            <pc:docMk/>
            <pc:sldMk cId="3608858532" sldId="1552"/>
            <ac:spMk id="162" creationId="{2E0FBD00-E26A-4430-BD42-D84EE457695C}"/>
          </ac:spMkLst>
        </pc:spChg>
        <pc:cxnChg chg="del">
          <ac:chgData name="J.C.P. van der Bent" userId="S::j.vanderbent@erasmusmc.nl::0c48ee02-2914-488d-8fbe-dead6b51bcab" providerId="AD" clId="Web-{9A664F51-8181-47D9-8B14-2EB91FAC445D}" dt="2020-06-24T19:47:05.842" v="5"/>
          <ac:cxnSpMkLst>
            <pc:docMk/>
            <pc:sldMk cId="3608858532" sldId="1552"/>
            <ac:cxnSpMk id="157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4"/>
          <ac:cxnSpMkLst>
            <pc:docMk/>
            <pc:sldMk cId="3608858532" sldId="1552"/>
            <ac:cxnSpMk id="158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3"/>
          <ac:cxnSpMkLst>
            <pc:docMk/>
            <pc:sldMk cId="3608858532" sldId="1552"/>
            <ac:cxnSpMk id="159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2"/>
          <ac:cxnSpMkLst>
            <pc:docMk/>
            <pc:sldMk cId="3608858532" sldId="1552"/>
            <ac:cxnSpMk id="160" creationId="{00000000-0000-0000-0000-000000000000}"/>
          </ac:cxnSpMkLst>
        </pc:cxnChg>
        <pc:cxnChg chg="del">
          <ac:chgData name="J.C.P. van der Bent" userId="S::j.vanderbent@erasmusmc.nl::0c48ee02-2914-488d-8fbe-dead6b51bcab" providerId="AD" clId="Web-{9A664F51-8181-47D9-8B14-2EB91FAC445D}" dt="2020-06-24T19:47:05.842" v="1"/>
          <ac:cxnSpMkLst>
            <pc:docMk/>
            <pc:sldMk cId="3608858532" sldId="1552"/>
            <ac:cxnSpMk id="161" creationId="{00000000-0000-0000-0000-000000000000}"/>
          </ac:cxnSpMkLst>
        </pc:cxnChg>
      </pc:sldChg>
    </pc:docChg>
  </pc:docChgLst>
  <pc:docChgLst>
    <pc:chgData name="R. Dullaart" userId="S::r.dullaart@erasmusmc.nl::1cca4027-7734-4ca1-9e2d-fc3a9c66ab6a" providerId="AD" clId="Web-{A8CE2716-B047-47C2-8C64-4B390A868806}"/>
    <pc:docChg chg="modSld">
      <pc:chgData name="R. Dullaart" userId="S::r.dullaart@erasmusmc.nl::1cca4027-7734-4ca1-9e2d-fc3a9c66ab6a" providerId="AD" clId="Web-{A8CE2716-B047-47C2-8C64-4B390A868806}" dt="2020-06-09T12:31:12.173" v="451" actId="20577"/>
      <pc:docMkLst>
        <pc:docMk/>
      </pc:docMkLst>
      <pc:sldChg chg="modSp">
        <pc:chgData name="R. Dullaart" userId="S::r.dullaart@erasmusmc.nl::1cca4027-7734-4ca1-9e2d-fc3a9c66ab6a" providerId="AD" clId="Web-{A8CE2716-B047-47C2-8C64-4B390A868806}" dt="2020-06-09T12:27:36.218" v="130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A8CE2716-B047-47C2-8C64-4B390A868806}" dt="2020-06-09T12:27:36.218" v="130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A8CE2716-B047-47C2-8C64-4B390A868806}" dt="2020-06-09T12:31:12.173" v="450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A8CE2716-B047-47C2-8C64-4B390A868806}" dt="2020-06-09T12:25:00.794" v="3" actId="20577"/>
          <ac:spMkLst>
            <pc:docMk/>
            <pc:sldMk cId="3303679437" sldId="1542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A8CE2716-B047-47C2-8C64-4B390A868806}" dt="2020-06-09T12:31:12.173" v="450" actId="20577"/>
          <ac:spMkLst>
            <pc:docMk/>
            <pc:sldMk cId="3303679437" sldId="1542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BA931B42-1839-447C-97AF-A8F37B9A6825}"/>
    <pc:docChg chg="modSld">
      <pc:chgData name="E.L. van der Beek" userId="S::e.l.vanderbeek@erasmusmc.nl::136335d9-f74f-486d-b1c3-bdb3d122d152" providerId="AD" clId="Web-{BA931B42-1839-447C-97AF-A8F37B9A6825}" dt="2020-07-06T13:10:31.414" v="6" actId="20577"/>
      <pc:docMkLst>
        <pc:docMk/>
      </pc:docMkLst>
      <pc:sldChg chg="modSp">
        <pc:chgData name="E.L. van der Beek" userId="S::e.l.vanderbeek@erasmusmc.nl::136335d9-f74f-486d-b1c3-bdb3d122d152" providerId="AD" clId="Web-{BA931B42-1839-447C-97AF-A8F37B9A6825}" dt="2020-07-06T13:10:31.414" v="5" actId="20577"/>
        <pc:sldMkLst>
          <pc:docMk/>
          <pc:sldMk cId="3112574146" sldId="1561"/>
        </pc:sldMkLst>
        <pc:spChg chg="mod">
          <ac:chgData name="E.L. van der Beek" userId="S::e.l.vanderbeek@erasmusmc.nl::136335d9-f74f-486d-b1c3-bdb3d122d152" providerId="AD" clId="Web-{BA931B42-1839-447C-97AF-A8F37B9A6825}" dt="2020-07-06T13:10:31.414" v="5" actId="20577"/>
          <ac:spMkLst>
            <pc:docMk/>
            <pc:sldMk cId="3112574146" sldId="1561"/>
            <ac:spMk id="4" creationId="{6E2F580C-C29F-4815-BC48-12A952FAACAA}"/>
          </ac:spMkLst>
        </pc:spChg>
      </pc:sldChg>
      <pc:sldChg chg="addSp modSp">
        <pc:chgData name="E.L. van der Beek" userId="S::e.l.vanderbeek@erasmusmc.nl::136335d9-f74f-486d-b1c3-bdb3d122d152" providerId="AD" clId="Web-{BA931B42-1839-447C-97AF-A8F37B9A6825}" dt="2020-07-06T13:08:13.444" v="2" actId="1076"/>
        <pc:sldMkLst>
          <pc:docMk/>
          <pc:sldMk cId="368528772" sldId="1567"/>
        </pc:sldMkLst>
        <pc:picChg chg="add mod">
          <ac:chgData name="E.L. van der Beek" userId="S::e.l.vanderbeek@erasmusmc.nl::136335d9-f74f-486d-b1c3-bdb3d122d152" providerId="AD" clId="Web-{BA931B42-1839-447C-97AF-A8F37B9A6825}" dt="2020-07-06T13:08:13.444" v="2" actId="1076"/>
          <ac:picMkLst>
            <pc:docMk/>
            <pc:sldMk cId="368528772" sldId="1567"/>
            <ac:picMk id="6" creationId="{72FECAAA-B933-4159-BD2A-72C58ACBAAA1}"/>
          </ac:picMkLst>
        </pc:picChg>
      </pc:sldChg>
      <pc:sldChg chg="delSp">
        <pc:chgData name="E.L. van der Beek" userId="S::e.l.vanderbeek@erasmusmc.nl::136335d9-f74f-486d-b1c3-bdb3d122d152" providerId="AD" clId="Web-{BA931B42-1839-447C-97AF-A8F37B9A6825}" dt="2020-07-06T13:08:08.178" v="0"/>
        <pc:sldMkLst>
          <pc:docMk/>
          <pc:sldMk cId="1684874882" sldId="1573"/>
        </pc:sldMkLst>
        <pc:picChg chg="del">
          <ac:chgData name="E.L. van der Beek" userId="S::e.l.vanderbeek@erasmusmc.nl::136335d9-f74f-486d-b1c3-bdb3d122d152" providerId="AD" clId="Web-{BA931B42-1839-447C-97AF-A8F37B9A6825}" dt="2020-07-06T13:08:08.178" v="0"/>
          <ac:picMkLst>
            <pc:docMk/>
            <pc:sldMk cId="1684874882" sldId="1573"/>
            <ac:picMk id="11" creationId="{00000000-0000-0000-0000-000000000000}"/>
          </ac:picMkLst>
        </pc:picChg>
      </pc:sldChg>
    </pc:docChg>
  </pc:docChgLst>
  <pc:docChgLst>
    <pc:chgData name="R. Dullaart" userId="S::r.dullaart@erasmusmc.nl::1cca4027-7734-4ca1-9e2d-fc3a9c66ab6a" providerId="AD" clId="Web-{845F8CAA-D72B-4866-89F2-037694FED739}"/>
    <pc:docChg chg="addSld modSld sldOrd">
      <pc:chgData name="R. Dullaart" userId="S::r.dullaart@erasmusmc.nl::1cca4027-7734-4ca1-9e2d-fc3a9c66ab6a" providerId="AD" clId="Web-{845F8CAA-D72B-4866-89F2-037694FED739}" dt="2020-06-08T19:42:47.449" v="1630" actId="20577"/>
      <pc:docMkLst>
        <pc:docMk/>
      </pc:docMkLst>
      <pc:sldChg chg="modSp">
        <pc:chgData name="R. Dullaart" userId="S::r.dullaart@erasmusmc.nl::1cca4027-7734-4ca1-9e2d-fc3a9c66ab6a" providerId="AD" clId="Web-{845F8CAA-D72B-4866-89F2-037694FED739}" dt="2020-06-08T18:31:10.738" v="13" actId="20577"/>
        <pc:sldMkLst>
          <pc:docMk/>
          <pc:sldMk cId="750057502" sldId="312"/>
        </pc:sldMkLst>
        <pc:spChg chg="mod">
          <ac:chgData name="R. Dullaart" userId="S::r.dullaart@erasmusmc.nl::1cca4027-7734-4ca1-9e2d-fc3a9c66ab6a" providerId="AD" clId="Web-{845F8CAA-D72B-4866-89F2-037694FED739}" dt="2020-06-08T18:31:06.613" v="5" actId="20577"/>
          <ac:spMkLst>
            <pc:docMk/>
            <pc:sldMk cId="750057502" sldId="312"/>
            <ac:spMk id="5" creationId="{BAF34F51-9F6D-4A5B-B354-3A1001F43764}"/>
          </ac:spMkLst>
        </pc:spChg>
        <pc:spChg chg="mod">
          <ac:chgData name="R. Dullaart" userId="S::r.dullaart@erasmusmc.nl::1cca4027-7734-4ca1-9e2d-fc3a9c66ab6a" providerId="AD" clId="Web-{845F8CAA-D72B-4866-89F2-037694FED739}" dt="2020-06-08T18:31:10.738" v="13" actId="20577"/>
          <ac:spMkLst>
            <pc:docMk/>
            <pc:sldMk cId="750057502" sldId="312"/>
            <ac:spMk id="9" creationId="{22FA250F-D5AC-4CDC-BF4D-B5452411E163}"/>
          </ac:spMkLst>
        </pc:spChg>
      </pc:sldChg>
      <pc:sldChg chg="ord">
        <pc:chgData name="R. Dullaart" userId="S::r.dullaart@erasmusmc.nl::1cca4027-7734-4ca1-9e2d-fc3a9c66ab6a" providerId="AD" clId="Web-{845F8CAA-D72B-4866-89F2-037694FED739}" dt="2020-06-08T18:32:45.306" v="55"/>
        <pc:sldMkLst>
          <pc:docMk/>
          <pc:sldMk cId="4246736356" sldId="1341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3"/>
        <pc:sldMkLst>
          <pc:docMk/>
          <pc:sldMk cId="2076916804" sldId="1511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9"/>
        <pc:sldMkLst>
          <pc:docMk/>
          <pc:sldMk cId="4261376822" sldId="1513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0"/>
        <pc:sldMkLst>
          <pc:docMk/>
          <pc:sldMk cId="1657239742" sldId="1514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7"/>
        <pc:sldMkLst>
          <pc:docMk/>
          <pc:sldMk cId="4018900033" sldId="1515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6"/>
        <pc:sldMkLst>
          <pc:docMk/>
          <pc:sldMk cId="1941285457" sldId="1517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5"/>
        <pc:sldMkLst>
          <pc:docMk/>
          <pc:sldMk cId="3492455096" sldId="1518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4"/>
        <pc:sldMkLst>
          <pc:docMk/>
          <pc:sldMk cId="3800029908" sldId="1519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3"/>
        <pc:sldMkLst>
          <pc:docMk/>
          <pc:sldMk cId="500210311" sldId="1520"/>
        </pc:sldMkLst>
      </pc:sldChg>
      <pc:sldChg chg="ord">
        <pc:chgData name="R. Dullaart" userId="S::r.dullaart@erasmusmc.nl::1cca4027-7734-4ca1-9e2d-fc3a9c66ab6a" providerId="AD" clId="Web-{845F8CAA-D72B-4866-89F2-037694FED739}" dt="2020-06-08T18:32:45.291" v="48"/>
        <pc:sldMkLst>
          <pc:docMk/>
          <pc:sldMk cId="1504868759" sldId="1521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4"/>
        <pc:sldMkLst>
          <pc:docMk/>
          <pc:sldMk cId="2221814300" sldId="1522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2"/>
        <pc:sldMkLst>
          <pc:docMk/>
          <pc:sldMk cId="2768294136" sldId="1525"/>
        </pc:sldMkLst>
      </pc:sldChg>
      <pc:sldChg chg="ord">
        <pc:chgData name="R. Dullaart" userId="S::r.dullaart@erasmusmc.nl::1cca4027-7734-4ca1-9e2d-fc3a9c66ab6a" providerId="AD" clId="Web-{845F8CAA-D72B-4866-89F2-037694FED739}" dt="2020-06-08T18:32:45.306" v="51"/>
        <pc:sldMkLst>
          <pc:docMk/>
          <pc:sldMk cId="3761982244" sldId="1526"/>
        </pc:sldMkLst>
      </pc:sldChg>
      <pc:sldChg chg="modSp ord">
        <pc:chgData name="R. Dullaart" userId="S::r.dullaart@erasmusmc.nl::1cca4027-7734-4ca1-9e2d-fc3a9c66ab6a" providerId="AD" clId="Web-{845F8CAA-D72B-4866-89F2-037694FED739}" dt="2020-06-08T19:32:03.053" v="538" actId="20577"/>
        <pc:sldMkLst>
          <pc:docMk/>
          <pc:sldMk cId="3381107511" sldId="1528"/>
        </pc:sldMkLst>
        <pc:spChg chg="mod">
          <ac:chgData name="R. Dullaart" userId="S::r.dullaart@erasmusmc.nl::1cca4027-7734-4ca1-9e2d-fc3a9c66ab6a" providerId="AD" clId="Web-{845F8CAA-D72B-4866-89F2-037694FED739}" dt="2020-06-08T19:32:03.053" v="538" actId="20577"/>
          <ac:spMkLst>
            <pc:docMk/>
            <pc:sldMk cId="3381107511" sldId="1528"/>
            <ac:spMk id="2" creationId="{5C47ED8F-BC72-4B9C-98AB-493F0CD1E55F}"/>
          </ac:spMkLst>
        </pc:spChg>
      </pc:sldChg>
      <pc:sldChg chg="modSp">
        <pc:chgData name="R. Dullaart" userId="S::r.dullaart@erasmusmc.nl::1cca4027-7734-4ca1-9e2d-fc3a9c66ab6a" providerId="AD" clId="Web-{845F8CAA-D72B-4866-89F2-037694FED739}" dt="2020-06-08T18:31:23.458" v="14" actId="20577"/>
        <pc:sldMkLst>
          <pc:docMk/>
          <pc:sldMk cId="2533726520" sldId="1529"/>
        </pc:sldMkLst>
        <pc:spChg chg="mod">
          <ac:chgData name="R. Dullaart" userId="S::r.dullaart@erasmusmc.nl::1cca4027-7734-4ca1-9e2d-fc3a9c66ab6a" providerId="AD" clId="Web-{845F8CAA-D72B-4866-89F2-037694FED739}" dt="2020-06-08T18:31:23.458" v="14" actId="20577"/>
          <ac:spMkLst>
            <pc:docMk/>
            <pc:sldMk cId="2533726520" sldId="1529"/>
            <ac:spMk id="2" creationId="{0C9D973C-A156-493C-8153-B8608F1AB8FD}"/>
          </ac:spMkLst>
        </pc:spChg>
      </pc:sldChg>
      <pc:sldChg chg="delSp">
        <pc:chgData name="R. Dullaart" userId="S::r.dullaart@erasmusmc.nl::1cca4027-7734-4ca1-9e2d-fc3a9c66ab6a" providerId="AD" clId="Web-{845F8CAA-D72B-4866-89F2-037694FED739}" dt="2020-06-08T19:31:36.303" v="529"/>
        <pc:sldMkLst>
          <pc:docMk/>
          <pc:sldMk cId="3667281723" sldId="1535"/>
        </pc:sldMkLst>
        <pc:graphicFrameChg chg="del">
          <ac:chgData name="R. Dullaart" userId="S::r.dullaart@erasmusmc.nl::1cca4027-7734-4ca1-9e2d-fc3a9c66ab6a" providerId="AD" clId="Web-{845F8CAA-D72B-4866-89F2-037694FED739}" dt="2020-06-08T19:31:36.303" v="529"/>
          <ac:graphicFrameMkLst>
            <pc:docMk/>
            <pc:sldMk cId="3667281723" sldId="1535"/>
            <ac:graphicFrameMk id="6" creationId="{09863786-0E72-4866-96DF-634FD0CA189C}"/>
          </ac:graphicFrameMkLst>
        </pc:graphicFrameChg>
      </pc:sldChg>
      <pc:sldChg chg="modSp">
        <pc:chgData name="R. Dullaart" userId="S::r.dullaart@erasmusmc.nl::1cca4027-7734-4ca1-9e2d-fc3a9c66ab6a" providerId="AD" clId="Web-{845F8CAA-D72B-4866-89F2-037694FED739}" dt="2020-06-08T19:42:47.449" v="1630" actId="20577"/>
        <pc:sldMkLst>
          <pc:docMk/>
          <pc:sldMk cId="2776719598" sldId="1539"/>
        </pc:sldMkLst>
        <pc:spChg chg="mod">
          <ac:chgData name="R. Dullaart" userId="S::r.dullaart@erasmusmc.nl::1cca4027-7734-4ca1-9e2d-fc3a9c66ab6a" providerId="AD" clId="Web-{845F8CAA-D72B-4866-89F2-037694FED739}" dt="2020-06-08T19:42:47.449" v="1630" actId="20577"/>
          <ac:spMkLst>
            <pc:docMk/>
            <pc:sldMk cId="2776719598" sldId="1539"/>
            <ac:spMk id="13" creationId="{196477B7-7838-4677-9DD6-E56F7B3AEDBC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37:51.650" v="1216" actId="20577"/>
        <pc:sldMkLst>
          <pc:docMk/>
          <pc:sldMk cId="2899407636" sldId="1540"/>
        </pc:sldMkLst>
        <pc:spChg chg="mod">
          <ac:chgData name="R. Dullaart" userId="S::r.dullaart@erasmusmc.nl::1cca4027-7734-4ca1-9e2d-fc3a9c66ab6a" providerId="AD" clId="Web-{845F8CAA-D72B-4866-89F2-037694FED739}" dt="2020-06-08T18:36:43.868" v="61" actId="20577"/>
          <ac:spMkLst>
            <pc:docMk/>
            <pc:sldMk cId="2899407636" sldId="1540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845F8CAA-D72B-4866-89F2-037694FED739}" dt="2020-06-08T19:37:51.650" v="1216" actId="20577"/>
          <ac:spMkLst>
            <pc:docMk/>
            <pc:sldMk cId="2899407636" sldId="1540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16:31.968" v="78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845F8CAA-D72B-4866-89F2-037694FED739}" dt="2020-06-08T19:16:31.968" v="78" actId="20577"/>
          <ac:spMkLst>
            <pc:docMk/>
            <pc:sldMk cId="1422739719" sldId="1541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17:53.719" v="88" actId="20577"/>
        <pc:sldMkLst>
          <pc:docMk/>
          <pc:sldMk cId="3303679437" sldId="1542"/>
        </pc:sldMkLst>
        <pc:spChg chg="mod">
          <ac:chgData name="R. Dullaart" userId="S::r.dullaart@erasmusmc.nl::1cca4027-7734-4ca1-9e2d-fc3a9c66ab6a" providerId="AD" clId="Web-{845F8CAA-D72B-4866-89F2-037694FED739}" dt="2020-06-08T19:17:53.719" v="88" actId="20577"/>
          <ac:spMkLst>
            <pc:docMk/>
            <pc:sldMk cId="3303679437" sldId="1542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18:12.672" v="107" actId="20577"/>
        <pc:sldMkLst>
          <pc:docMk/>
          <pc:sldMk cId="2266329790" sldId="1543"/>
        </pc:sldMkLst>
        <pc:spChg chg="mod">
          <ac:chgData name="R. Dullaart" userId="S::r.dullaart@erasmusmc.nl::1cca4027-7734-4ca1-9e2d-fc3a9c66ab6a" providerId="AD" clId="Web-{845F8CAA-D72B-4866-89F2-037694FED739}" dt="2020-06-08T19:18:12.672" v="107" actId="20577"/>
          <ac:spMkLst>
            <pc:docMk/>
            <pc:sldMk cId="2266329790" sldId="1543"/>
            <ac:spMk id="13" creationId="{196477B7-7838-4677-9DD6-E56F7B3AEDBC}"/>
          </ac:spMkLst>
        </pc:spChg>
      </pc:sldChg>
      <pc:sldChg chg="modSp add replId">
        <pc:chgData name="R. Dullaart" userId="S::r.dullaart@erasmusmc.nl::1cca4027-7734-4ca1-9e2d-fc3a9c66ab6a" providerId="AD" clId="Web-{845F8CAA-D72B-4866-89F2-037694FED739}" dt="2020-06-08T19:31:23.053" v="52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845F8CAA-D72B-4866-89F2-037694FED739}" dt="2020-06-08T19:27:35.254" v="231" actId="20577"/>
          <ac:spMkLst>
            <pc:docMk/>
            <pc:sldMk cId="100701953" sldId="1544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845F8CAA-D72B-4866-89F2-037694FED739}" dt="2020-06-08T19:26:31.754" v="125" actId="20577"/>
          <ac:spMkLst>
            <pc:docMk/>
            <pc:sldMk cId="100701953" sldId="1544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845F8CAA-D72B-4866-89F2-037694FED739}" dt="2020-06-08T19:31:23.053" v="527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845F8CAA-D72B-4866-89F2-037694FED739}" dt="2020-06-08T19:42:11.058" v="1627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845F8CAA-D72B-4866-89F2-037694FED739}" dt="2020-06-08T19:42:11.058" v="1627" actId="20577"/>
          <ac:spMkLst>
            <pc:docMk/>
            <pc:sldMk cId="2288471913" sldId="1545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845F8CAA-D72B-4866-89F2-037694FED739}" dt="2020-06-08T19:41:43.745" v="1616" actId="20577"/>
          <ac:spMkLst>
            <pc:docMk/>
            <pc:sldMk cId="2288471913" sldId="1545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0BBB4395-3BF6-4C00-B073-0F6181773E87}"/>
    <pc:docChg chg="delSld modSld">
      <pc:chgData name="R. Dullaart" userId="S::r.dullaart@erasmusmc.nl::1cca4027-7734-4ca1-9e2d-fc3a9c66ab6a" providerId="AD" clId="Web-{0BBB4395-3BF6-4C00-B073-0F6181773E87}" dt="2020-06-08T09:17:30.016" v="194" actId="20577"/>
      <pc:docMkLst>
        <pc:docMk/>
      </pc:docMkLst>
      <pc:sldChg chg="del">
        <pc:chgData name="R. Dullaart" userId="S::r.dullaart@erasmusmc.nl::1cca4027-7734-4ca1-9e2d-fc3a9c66ab6a" providerId="AD" clId="Web-{0BBB4395-3BF6-4C00-B073-0F6181773E87}" dt="2020-06-08T09:08:33.902" v="2"/>
        <pc:sldMkLst>
          <pc:docMk/>
          <pc:sldMk cId="3828566660" sldId="1271"/>
        </pc:sldMkLst>
      </pc:sldChg>
      <pc:sldChg chg="del">
        <pc:chgData name="R. Dullaart" userId="S::r.dullaart@erasmusmc.nl::1cca4027-7734-4ca1-9e2d-fc3a9c66ab6a" providerId="AD" clId="Web-{0BBB4395-3BF6-4C00-B073-0F6181773E87}" dt="2020-06-08T09:08:29.527" v="1"/>
        <pc:sldMkLst>
          <pc:docMk/>
          <pc:sldMk cId="3207932789" sldId="1407"/>
        </pc:sldMkLst>
      </pc:sldChg>
      <pc:sldChg chg="del">
        <pc:chgData name="R. Dullaart" userId="S::r.dullaart@erasmusmc.nl::1cca4027-7734-4ca1-9e2d-fc3a9c66ab6a" providerId="AD" clId="Web-{0BBB4395-3BF6-4C00-B073-0F6181773E87}" dt="2020-06-08T09:08:23.980" v="0"/>
        <pc:sldMkLst>
          <pc:docMk/>
          <pc:sldMk cId="2269137030" sldId="1510"/>
        </pc:sldMkLst>
      </pc:sldChg>
      <pc:sldChg chg="del">
        <pc:chgData name="R. Dullaart" userId="S::r.dullaart@erasmusmc.nl::1cca4027-7734-4ca1-9e2d-fc3a9c66ab6a" providerId="AD" clId="Web-{0BBB4395-3BF6-4C00-B073-0F6181773E87}" dt="2020-06-08T09:08:55.402" v="5"/>
        <pc:sldMkLst>
          <pc:docMk/>
          <pc:sldMk cId="1775397908" sldId="1523"/>
        </pc:sldMkLst>
      </pc:sldChg>
      <pc:sldChg chg="del">
        <pc:chgData name="R. Dullaart" userId="S::r.dullaart@erasmusmc.nl::1cca4027-7734-4ca1-9e2d-fc3a9c66ab6a" providerId="AD" clId="Web-{0BBB4395-3BF6-4C00-B073-0F6181773E87}" dt="2020-06-08T09:08:54.136" v="4"/>
        <pc:sldMkLst>
          <pc:docMk/>
          <pc:sldMk cId="1646145355" sldId="1524"/>
        </pc:sldMkLst>
      </pc:sldChg>
      <pc:sldChg chg="delSp modSp">
        <pc:chgData name="R. Dullaart" userId="S::r.dullaart@erasmusmc.nl::1cca4027-7734-4ca1-9e2d-fc3a9c66ab6a" providerId="AD" clId="Web-{0BBB4395-3BF6-4C00-B073-0F6181773E87}" dt="2020-06-08T09:17:28.956" v="192" actId="20577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0BBB4395-3BF6-4C00-B073-0F6181773E87}" dt="2020-06-08T09:15:25.234" v="80" actId="1076"/>
          <ac:spMkLst>
            <pc:docMk/>
            <pc:sldMk cId="3667281723" sldId="1535"/>
            <ac:spMk id="3" creationId="{CEC1888D-51A6-4C02-9B2C-A1DBEF16E3F7}"/>
          </ac:spMkLst>
        </pc:spChg>
        <pc:spChg chg="mod">
          <ac:chgData name="R. Dullaart" userId="S::r.dullaart@erasmusmc.nl::1cca4027-7734-4ca1-9e2d-fc3a9c66ab6a" providerId="AD" clId="Web-{0BBB4395-3BF6-4C00-B073-0F6181773E87}" dt="2020-06-08T09:16:48.563" v="187" actId="20577"/>
          <ac:spMkLst>
            <pc:docMk/>
            <pc:sldMk cId="3667281723" sldId="1535"/>
            <ac:spMk id="4" creationId="{6E2F580C-C29F-4815-BC48-12A952FAACAA}"/>
          </ac:spMkLst>
        </pc:spChg>
        <pc:spChg chg="del">
          <ac:chgData name="R. Dullaart" userId="S::r.dullaart@erasmusmc.nl::1cca4027-7734-4ca1-9e2d-fc3a9c66ab6a" providerId="AD" clId="Web-{0BBB4395-3BF6-4C00-B073-0F6181773E87}" dt="2020-06-08T09:14:57.718" v="79"/>
          <ac:spMkLst>
            <pc:docMk/>
            <pc:sldMk cId="3667281723" sldId="1535"/>
            <ac:spMk id="5" creationId="{C0AEDEC5-FFB7-4386-97FA-85839B8255D5}"/>
          </ac:spMkLst>
        </pc:spChg>
        <pc:spChg chg="mod">
          <ac:chgData name="R. Dullaart" userId="S::r.dullaart@erasmusmc.nl::1cca4027-7734-4ca1-9e2d-fc3a9c66ab6a" providerId="AD" clId="Web-{0BBB4395-3BF6-4C00-B073-0F6181773E87}" dt="2020-06-08T09:14:55.781" v="78" actId="20577"/>
          <ac:spMkLst>
            <pc:docMk/>
            <pc:sldMk cId="3667281723" sldId="1535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281" v="82" actId="1076"/>
          <ac:spMkLst>
            <pc:docMk/>
            <pc:sldMk cId="3667281723" sldId="1535"/>
            <ac:spMk id="12" creationId="{B75258DA-13A9-494D-A942-CE0DF188DED5}"/>
          </ac:spMkLst>
        </pc:spChg>
        <pc:spChg chg="mod">
          <ac:chgData name="R. Dullaart" userId="S::r.dullaart@erasmusmc.nl::1cca4027-7734-4ca1-9e2d-fc3a9c66ab6a" providerId="AD" clId="Web-{0BBB4395-3BF6-4C00-B073-0F6181773E87}" dt="2020-06-08T09:12:30.154" v="19" actId="20577"/>
          <ac:spMkLst>
            <pc:docMk/>
            <pc:sldMk cId="3667281723" sldId="1535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0BBB4395-3BF6-4C00-B073-0F6181773E87}" dt="2020-06-08T09:17:28.956" v="192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343" v="84" actId="1076"/>
          <ac:spMkLst>
            <pc:docMk/>
            <pc:sldMk cId="3667281723" sldId="1535"/>
            <ac:spMk id="15" creationId="{432DD17D-CD18-48EC-9F24-86C43DCB2C96}"/>
          </ac:spMkLst>
        </pc:spChg>
        <pc:spChg chg="mod">
          <ac:chgData name="R. Dullaart" userId="S::r.dullaart@erasmusmc.nl::1cca4027-7734-4ca1-9e2d-fc3a9c66ab6a" providerId="AD" clId="Web-{0BBB4395-3BF6-4C00-B073-0F6181773E87}" dt="2020-06-08T09:15:25.359" v="85" actId="1076"/>
          <ac:spMkLst>
            <pc:docMk/>
            <pc:sldMk cId="3667281723" sldId="1535"/>
            <ac:spMk id="17" creationId="{9DBB66BE-1DBF-4CB3-947B-2BAD47DEABE2}"/>
          </ac:spMkLst>
        </pc:spChg>
      </pc:sldChg>
      <pc:sldChg chg="del">
        <pc:chgData name="R. Dullaart" userId="S::r.dullaart@erasmusmc.nl::1cca4027-7734-4ca1-9e2d-fc3a9c66ab6a" providerId="AD" clId="Web-{0BBB4395-3BF6-4C00-B073-0F6181773E87}" dt="2020-06-08T09:08:47.964" v="3"/>
        <pc:sldMkLst>
          <pc:docMk/>
          <pc:sldMk cId="2705993130" sldId="1540"/>
        </pc:sldMkLst>
      </pc:sldChg>
    </pc:docChg>
  </pc:docChgLst>
  <pc:docChgLst>
    <pc:chgData name="R. Dullaart" userId="S::r.dullaart@erasmusmc.nl::1cca4027-7734-4ca1-9e2d-fc3a9c66ab6a" providerId="AD" clId="Web-{E263ADA0-5DDE-4436-A24E-4A68A3C2CD1C}"/>
    <pc:docChg chg="modSld">
      <pc:chgData name="R. Dullaart" userId="S::r.dullaart@erasmusmc.nl::1cca4027-7734-4ca1-9e2d-fc3a9c66ab6a" providerId="AD" clId="Web-{E263ADA0-5DDE-4436-A24E-4A68A3C2CD1C}" dt="2020-06-09T06:51:41.719" v="16"/>
      <pc:docMkLst>
        <pc:docMk/>
      </pc:docMkLst>
      <pc:sldChg chg="modSp">
        <pc:chgData name="R. Dullaart" userId="S::r.dullaart@erasmusmc.nl::1cca4027-7734-4ca1-9e2d-fc3a9c66ab6a" providerId="AD" clId="Web-{E263ADA0-5DDE-4436-A24E-4A68A3C2CD1C}" dt="2020-06-09T06:51:06.937" v="2" actId="20577"/>
        <pc:sldMkLst>
          <pc:docMk/>
          <pc:sldMk cId="2288471913" sldId="1545"/>
        </pc:sldMkLst>
        <pc:spChg chg="mod">
          <ac:chgData name="R. Dullaart" userId="S::r.dullaart@erasmusmc.nl::1cca4027-7734-4ca1-9e2d-fc3a9c66ab6a" providerId="AD" clId="Web-{E263ADA0-5DDE-4436-A24E-4A68A3C2CD1C}" dt="2020-06-09T06:51:06.937" v="2" actId="20577"/>
          <ac:spMkLst>
            <pc:docMk/>
            <pc:sldMk cId="2288471913" sldId="1545"/>
            <ac:spMk id="16" creationId="{04D8F9DA-94EA-4705-AC9B-63473CE2E4E1}"/>
          </ac:spMkLst>
        </pc:spChg>
      </pc:sldChg>
      <pc:sldChg chg="delSp">
        <pc:chgData name="R. Dullaart" userId="S::r.dullaart@erasmusmc.nl::1cca4027-7734-4ca1-9e2d-fc3a9c66ab6a" providerId="AD" clId="Web-{E263ADA0-5DDE-4436-A24E-4A68A3C2CD1C}" dt="2020-06-09T06:51:41.719" v="16"/>
        <pc:sldMkLst>
          <pc:docMk/>
          <pc:sldMk cId="2056646906" sldId="1546"/>
        </pc:sldMkLst>
        <pc:spChg chg="del">
          <ac:chgData name="R. Dullaart" userId="S::r.dullaart@erasmusmc.nl::1cca4027-7734-4ca1-9e2d-fc3a9c66ab6a" providerId="AD" clId="Web-{E263ADA0-5DDE-4436-A24E-4A68A3C2CD1C}" dt="2020-06-09T06:51:41.719" v="11"/>
          <ac:spMkLst>
            <pc:docMk/>
            <pc:sldMk cId="2056646906" sldId="1546"/>
            <ac:spMk id="17" creationId="{E42AAA7B-68AB-4FF0-A5AF-6C1BAE1DEBA9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19" v="9"/>
          <ac:spMkLst>
            <pc:docMk/>
            <pc:sldMk cId="2056646906" sldId="1546"/>
            <ac:spMk id="204" creationId="{E3F38E8F-EC05-4A82-9ED0-BF03A7158D41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7"/>
          <ac:spMkLst>
            <pc:docMk/>
            <pc:sldMk cId="2056646906" sldId="1546"/>
            <ac:spMk id="205" creationId="{A7318F38-FB1D-4C8F-9128-15BDE12CDF76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19" v="10"/>
          <ac:spMkLst>
            <pc:docMk/>
            <pc:sldMk cId="2056646906" sldId="1546"/>
            <ac:spMk id="206" creationId="{47362709-00DB-4B36-902A-7C8A71F03A55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6"/>
          <ac:spMkLst>
            <pc:docMk/>
            <pc:sldMk cId="2056646906" sldId="1546"/>
            <ac:spMk id="207" creationId="{CE1C766B-8B08-4A2D-B415-64F1F1B5FE2C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8"/>
          <ac:spMkLst>
            <pc:docMk/>
            <pc:sldMk cId="2056646906" sldId="1546"/>
            <ac:spMk id="208" creationId="{25662AC8-A052-45BA-B750-6B7A88DCCE87}"/>
          </ac:spMkLst>
        </pc:spChg>
        <pc:spChg chg="del">
          <ac:chgData name="R. Dullaart" userId="S::r.dullaart@erasmusmc.nl::1cca4027-7734-4ca1-9e2d-fc3a9c66ab6a" providerId="AD" clId="Web-{E263ADA0-5DDE-4436-A24E-4A68A3C2CD1C}" dt="2020-06-09T06:51:41.703" v="5"/>
          <ac:spMkLst>
            <pc:docMk/>
            <pc:sldMk cId="2056646906" sldId="1546"/>
            <ac:spMk id="211" creationId="{63F410DA-01E7-4E5A-9123-ED7A1F61EC2B}"/>
          </ac:spMkLst>
        </pc:spChg>
        <pc:graphicFrameChg chg="del">
          <ac:chgData name="R. Dullaart" userId="S::r.dullaart@erasmusmc.nl::1cca4027-7734-4ca1-9e2d-fc3a9c66ab6a" providerId="AD" clId="Web-{E263ADA0-5DDE-4436-A24E-4A68A3C2CD1C}" dt="2020-06-09T06:51:31.547" v="4"/>
          <ac:graphicFrameMkLst>
            <pc:docMk/>
            <pc:sldMk cId="2056646906" sldId="1546"/>
            <ac:graphicFrameMk id="94" creationId="{28E486B3-88AC-4360-8B0A-17DAC4977B90}"/>
          </ac:graphicFrameMkLst>
        </pc:graphicFrameChg>
        <pc:cxnChg chg="del">
          <ac:chgData name="R. Dullaart" userId="S::r.dullaart@erasmusmc.nl::1cca4027-7734-4ca1-9e2d-fc3a9c66ab6a" providerId="AD" clId="Web-{E263ADA0-5DDE-4436-A24E-4A68A3C2CD1C}" dt="2020-06-09T06:51:41.719" v="15"/>
          <ac:cxnSpMkLst>
            <pc:docMk/>
            <pc:sldMk cId="2056646906" sldId="1546"/>
            <ac:cxnSpMk id="5" creationId="{DD99C4D5-53E7-4CD9-97FF-88A005DCF1C9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4"/>
          <ac:cxnSpMkLst>
            <pc:docMk/>
            <pc:sldMk cId="2056646906" sldId="1546"/>
            <ac:cxnSpMk id="6" creationId="{57C96C75-2920-49B5-8125-20077CBFFA34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3"/>
          <ac:cxnSpMkLst>
            <pc:docMk/>
            <pc:sldMk cId="2056646906" sldId="1546"/>
            <ac:cxnSpMk id="14" creationId="{297C95CD-A5EF-444F-B80F-4EB0A770C7A9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2"/>
          <ac:cxnSpMkLst>
            <pc:docMk/>
            <pc:sldMk cId="2056646906" sldId="1546"/>
            <ac:cxnSpMk id="15" creationId="{656E82CF-FDE5-4939-8370-A655601AC246}"/>
          </ac:cxnSpMkLst>
        </pc:cxnChg>
        <pc:cxnChg chg="del">
          <ac:chgData name="R. Dullaart" userId="S::r.dullaart@erasmusmc.nl::1cca4027-7734-4ca1-9e2d-fc3a9c66ab6a" providerId="AD" clId="Web-{E263ADA0-5DDE-4436-A24E-4A68A3C2CD1C}" dt="2020-06-09T06:51:41.719" v="16"/>
          <ac:cxnSpMkLst>
            <pc:docMk/>
            <pc:sldMk cId="2056646906" sldId="1546"/>
            <ac:cxnSpMk id="16" creationId="{BC9BFC8F-3F03-4944-B48B-D55B0BAFABD2}"/>
          </ac:cxnSpMkLst>
        </pc:cxnChg>
      </pc:sldChg>
    </pc:docChg>
  </pc:docChgLst>
  <pc:docChgLst>
    <pc:chgData name="W.M. Dijkhuizen" userId="S::w.dijkhuizen@erasmusmc.nl::fdf5a739-bb06-48ac-8c2b-2bdd327c3597" providerId="AD" clId="Web-{98A43766-2BBF-4F08-95BE-0E3ED0D3DB01}"/>
    <pc:docChg chg="modSld">
      <pc:chgData name="W.M. Dijkhuizen" userId="S::w.dijkhuizen@erasmusmc.nl::fdf5a739-bb06-48ac-8c2b-2bdd327c3597" providerId="AD" clId="Web-{98A43766-2BBF-4F08-95BE-0E3ED0D3DB01}" dt="2020-06-10T13:51:27.414" v="2" actId="20577"/>
      <pc:docMkLst>
        <pc:docMk/>
      </pc:docMkLst>
      <pc:sldChg chg="modSp">
        <pc:chgData name="W.M. Dijkhuizen" userId="S::w.dijkhuizen@erasmusmc.nl::fdf5a739-bb06-48ac-8c2b-2bdd327c3597" providerId="AD" clId="Web-{98A43766-2BBF-4F08-95BE-0E3ED0D3DB01}" dt="2020-06-10T13:51:14.727" v="0" actId="20577"/>
        <pc:sldMkLst>
          <pc:docMk/>
          <pc:sldMk cId="2288471913" sldId="1545"/>
        </pc:sldMkLst>
        <pc:spChg chg="mod">
          <ac:chgData name="W.M. Dijkhuizen" userId="S::w.dijkhuizen@erasmusmc.nl::fdf5a739-bb06-48ac-8c2b-2bdd327c3597" providerId="AD" clId="Web-{98A43766-2BBF-4F08-95BE-0E3ED0D3DB01}" dt="2020-06-10T13:51:14.727" v="0" actId="20577"/>
          <ac:spMkLst>
            <pc:docMk/>
            <pc:sldMk cId="2288471913" sldId="1545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E7BB8FA3-26D4-4F95-B5C3-A5C039F1B919}"/>
    <pc:docChg chg="delSld modSld">
      <pc:chgData name="R. Dullaart" userId="S::r.dullaart@erasmusmc.nl::1cca4027-7734-4ca1-9e2d-fc3a9c66ab6a" providerId="AD" clId="Web-{E7BB8FA3-26D4-4F95-B5C3-A5C039F1B919}" dt="2020-06-08T09:43:13.993" v="1235" actId="20577"/>
      <pc:docMkLst>
        <pc:docMk/>
      </pc:docMkLst>
      <pc:sldChg chg="modSp">
        <pc:chgData name="R. Dullaart" userId="S::r.dullaart@erasmusmc.nl::1cca4027-7734-4ca1-9e2d-fc3a9c66ab6a" providerId="AD" clId="Web-{E7BB8FA3-26D4-4F95-B5C3-A5C039F1B919}" dt="2020-06-08T09:43:12.149" v="1233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E7BB8FA3-26D4-4F95-B5C3-A5C039F1B919}" dt="2020-06-08T09:33:02.594" v="1045" actId="14100"/>
          <ac:spMkLst>
            <pc:docMk/>
            <pc:sldMk cId="453084187" sldId="1530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E7BB8FA3-26D4-4F95-B5C3-A5C039F1B919}" dt="2020-06-08T09:31:50.889" v="1032" actId="1076"/>
          <ac:spMkLst>
            <pc:docMk/>
            <pc:sldMk cId="453084187" sldId="1530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E7BB8FA3-26D4-4F95-B5C3-A5C039F1B919}" dt="2020-06-08T09:43:12.149" v="1233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del">
        <pc:chgData name="R. Dullaart" userId="S::r.dullaart@erasmusmc.nl::1cca4027-7734-4ca1-9e2d-fc3a9c66ab6a" providerId="AD" clId="Web-{E7BB8FA3-26D4-4F95-B5C3-A5C039F1B919}" dt="2020-06-08T09:39:18.537" v="1047"/>
        <pc:sldMkLst>
          <pc:docMk/>
          <pc:sldMk cId="3881787964" sldId="1531"/>
        </pc:sldMkLst>
      </pc:sldChg>
      <pc:sldChg chg="modSp">
        <pc:chgData name="R. Dullaart" userId="S::r.dullaart@erasmusmc.nl::1cca4027-7734-4ca1-9e2d-fc3a9c66ab6a" providerId="AD" clId="Web-{E7BB8FA3-26D4-4F95-B5C3-A5C039F1B919}" dt="2020-06-08T09:39:37.787" v="1049" actId="20577"/>
        <pc:sldMkLst>
          <pc:docMk/>
          <pc:sldMk cId="2685514917" sldId="1532"/>
        </pc:sldMkLst>
        <pc:spChg chg="mod">
          <ac:chgData name="R. Dullaart" userId="S::r.dullaart@erasmusmc.nl::1cca4027-7734-4ca1-9e2d-fc3a9c66ab6a" providerId="AD" clId="Web-{E7BB8FA3-26D4-4F95-B5C3-A5C039F1B919}" dt="2020-06-08T09:39:37.787" v="1049" actId="20577"/>
          <ac:spMkLst>
            <pc:docMk/>
            <pc:sldMk cId="2685514917" sldId="1532"/>
            <ac:spMk id="13" creationId="{196477B7-7838-4677-9DD6-E56F7B3AEDBC}"/>
          </ac:spMkLst>
        </pc:spChg>
      </pc:sldChg>
      <pc:sldChg chg="addSp delSp modSp">
        <pc:chgData name="R. Dullaart" userId="S::r.dullaart@erasmusmc.nl::1cca4027-7734-4ca1-9e2d-fc3a9c66ab6a" providerId="AD" clId="Web-{E7BB8FA3-26D4-4F95-B5C3-A5C039F1B919}" dt="2020-06-08T09:32:21.202" v="1037" actId="20577"/>
        <pc:sldMkLst>
          <pc:docMk/>
          <pc:sldMk cId="3667281723" sldId="1535"/>
        </pc:sldMkLst>
        <pc:spChg chg="mod">
          <ac:chgData name="R. Dullaart" userId="S::r.dullaart@erasmusmc.nl::1cca4027-7734-4ca1-9e2d-fc3a9c66ab6a" providerId="AD" clId="Web-{E7BB8FA3-26D4-4F95-B5C3-A5C039F1B919}" dt="2020-06-08T09:32:21.202" v="1037" actId="20577"/>
          <ac:spMkLst>
            <pc:docMk/>
            <pc:sldMk cId="3667281723" sldId="1535"/>
            <ac:spMk id="4" creationId="{6E2F580C-C29F-4815-BC48-12A952FAACAA}"/>
          </ac:spMkLst>
        </pc:spChg>
        <pc:spChg chg="add del mod">
          <ac:chgData name="R. Dullaart" userId="S::r.dullaart@erasmusmc.nl::1cca4027-7734-4ca1-9e2d-fc3a9c66ab6a" providerId="AD" clId="Web-{E7BB8FA3-26D4-4F95-B5C3-A5C039F1B919}" dt="2020-06-08T09:20:24.395" v="39"/>
          <ac:spMkLst>
            <pc:docMk/>
            <pc:sldMk cId="3667281723" sldId="1535"/>
            <ac:spMk id="7" creationId="{D42297EE-9F6A-4D30-841D-53B8D5E38919}"/>
          </ac:spMkLst>
        </pc:spChg>
        <pc:spChg chg="mod">
          <ac:chgData name="R. Dullaart" userId="S::r.dullaart@erasmusmc.nl::1cca4027-7734-4ca1-9e2d-fc3a9c66ab6a" providerId="AD" clId="Web-{E7BB8FA3-26D4-4F95-B5C3-A5C039F1B919}" dt="2020-06-08T09:20:04.489" v="13" actId="20577"/>
          <ac:spMkLst>
            <pc:docMk/>
            <pc:sldMk cId="3667281723" sldId="1535"/>
            <ac:spMk id="12" creationId="{B75258DA-13A9-494D-A942-CE0DF188DED5}"/>
          </ac:spMkLst>
        </pc:spChg>
        <pc:spChg chg="mod">
          <ac:chgData name="R. Dullaart" userId="S::r.dullaart@erasmusmc.nl::1cca4027-7734-4ca1-9e2d-fc3a9c66ab6a" providerId="AD" clId="Web-{E7BB8FA3-26D4-4F95-B5C3-A5C039F1B919}" dt="2020-06-08T09:22:47.007" v="415" actId="20577"/>
          <ac:spMkLst>
            <pc:docMk/>
            <pc:sldMk cId="3667281723" sldId="1535"/>
            <ac:spMk id="14" creationId="{65D83F08-BA10-4284-9DB7-D30D4BD8FE12}"/>
          </ac:spMkLst>
        </pc:spChg>
        <pc:spChg chg="mod">
          <ac:chgData name="R. Dullaart" userId="S::r.dullaart@erasmusmc.nl::1cca4027-7734-4ca1-9e2d-fc3a9c66ab6a" providerId="AD" clId="Web-{E7BB8FA3-26D4-4F95-B5C3-A5C039F1B919}" dt="2020-06-08T09:19:49.145" v="9" actId="20577"/>
          <ac:spMkLst>
            <pc:docMk/>
            <pc:sldMk cId="3667281723" sldId="1535"/>
            <ac:spMk id="15" creationId="{432DD17D-CD18-48EC-9F24-86C43DCB2C96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1.998" v="1027" actId="1076"/>
          <ac:spMkLst>
            <pc:docMk/>
            <pc:sldMk cId="3667281723" sldId="1535"/>
            <ac:spMk id="16" creationId="{711BA779-EBAA-44B2-ADFD-255E0508EF56}"/>
          </ac:spMkLst>
        </pc:spChg>
        <pc:spChg chg="mod">
          <ac:chgData name="R. Dullaart" userId="S::r.dullaart@erasmusmc.nl::1cca4027-7734-4ca1-9e2d-fc3a9c66ab6a" providerId="AD" clId="Web-{E7BB8FA3-26D4-4F95-B5C3-A5C039F1B919}" dt="2020-06-08T09:19:46.410" v="7" actId="1076"/>
          <ac:spMkLst>
            <pc:docMk/>
            <pc:sldMk cId="3667281723" sldId="1535"/>
            <ac:spMk id="17" creationId="{9DBB66BE-1DBF-4CB3-947B-2BAD47DEABE2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2.045" v="1028" actId="1076"/>
          <ac:spMkLst>
            <pc:docMk/>
            <pc:sldMk cId="3667281723" sldId="1535"/>
            <ac:spMk id="18" creationId="{44263073-2248-4C78-86D6-8B5AAB11BE09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8.670" v="1029" actId="1076"/>
          <ac:spMkLst>
            <pc:docMk/>
            <pc:sldMk cId="3667281723" sldId="1535"/>
            <ac:spMk id="19" creationId="{07A056A1-ED51-46B7-BF14-646E3359BB6F}"/>
          </ac:spMkLst>
        </pc:spChg>
        <pc:spChg chg="add mod">
          <ac:chgData name="R. Dullaart" userId="S::r.dullaart@erasmusmc.nl::1cca4027-7734-4ca1-9e2d-fc3a9c66ab6a" providerId="AD" clId="Web-{E7BB8FA3-26D4-4F95-B5C3-A5C039F1B919}" dt="2020-06-08T09:31:28.733" v="1030" actId="1076"/>
          <ac:spMkLst>
            <pc:docMk/>
            <pc:sldMk cId="3667281723" sldId="1535"/>
            <ac:spMk id="20" creationId="{2E0FBD00-E26A-4430-BD42-D84EE457695C}"/>
          </ac:spMkLst>
        </pc:spChg>
        <pc:graphicFrameChg chg="add mod">
          <ac:chgData name="R. Dullaart" userId="S::r.dullaart@erasmusmc.nl::1cca4027-7734-4ca1-9e2d-fc3a9c66ab6a" providerId="AD" clId="Web-{E7BB8FA3-26D4-4F95-B5C3-A5C039F1B919}" dt="2020-06-08T09:27:32.292" v="737" actId="1076"/>
          <ac:graphicFrameMkLst>
            <pc:docMk/>
            <pc:sldMk cId="3667281723" sldId="1535"/>
            <ac:graphicFrameMk id="6" creationId="{09863786-0E72-4866-96DF-634FD0CA189C}"/>
          </ac:graphicFrameMkLst>
        </pc:graphicFrameChg>
      </pc:sldChg>
      <pc:sldChg chg="del">
        <pc:chgData name="R. Dullaart" userId="S::r.dullaart@erasmusmc.nl::1cca4027-7734-4ca1-9e2d-fc3a9c66ab6a" providerId="AD" clId="Web-{E7BB8FA3-26D4-4F95-B5C3-A5C039F1B919}" dt="2020-06-08T09:39:18.521" v="1046"/>
        <pc:sldMkLst>
          <pc:docMk/>
          <pc:sldMk cId="2303074451" sldId="1538"/>
        </pc:sldMkLst>
      </pc:sldChg>
    </pc:docChg>
  </pc:docChgLst>
  <pc:docChgLst>
    <pc:chgData name="R. Dullaart" userId="S::r.dullaart@erasmusmc.nl::1cca4027-7734-4ca1-9e2d-fc3a9c66ab6a" providerId="AD" clId="Web-{7ADE9ADE-60A9-4BFD-BC35-7C735EA8A156}"/>
    <pc:docChg chg="addSld modSld sldOrd">
      <pc:chgData name="R. Dullaart" userId="S::r.dullaart@erasmusmc.nl::1cca4027-7734-4ca1-9e2d-fc3a9c66ab6a" providerId="AD" clId="Web-{7ADE9ADE-60A9-4BFD-BC35-7C735EA8A156}" dt="2020-06-08T19:46:39.136" v="183" actId="20577"/>
      <pc:docMkLst>
        <pc:docMk/>
      </pc:docMkLst>
      <pc:sldChg chg="modSp">
        <pc:chgData name="R. Dullaart" userId="S::r.dullaart@erasmusmc.nl::1cca4027-7734-4ca1-9e2d-fc3a9c66ab6a" providerId="AD" clId="Web-{7ADE9ADE-60A9-4BFD-BC35-7C735EA8A156}" dt="2020-06-08T19:45:22.557" v="162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7ADE9ADE-60A9-4BFD-BC35-7C735EA8A156}" dt="2020-06-08T19:44:45.338" v="111" actId="20577"/>
          <ac:spMkLst>
            <pc:docMk/>
            <pc:sldMk cId="1422739719" sldId="1541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7ADE9ADE-60A9-4BFD-BC35-7C735EA8A156}" dt="2020-06-08T19:45:22.557" v="162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 add ord replId">
        <pc:chgData name="R. Dullaart" userId="S::r.dullaart@erasmusmc.nl::1cca4027-7734-4ca1-9e2d-fc3a9c66ab6a" providerId="AD" clId="Web-{7ADE9ADE-60A9-4BFD-BC35-7C735EA8A156}" dt="2020-06-08T19:46:39.136" v="183" actId="20577"/>
        <pc:sldMkLst>
          <pc:docMk/>
          <pc:sldMk cId="2056646906" sldId="1546"/>
        </pc:sldMkLst>
        <pc:spChg chg="mod">
          <ac:chgData name="R. Dullaart" userId="S::r.dullaart@erasmusmc.nl::1cca4027-7734-4ca1-9e2d-fc3a9c66ab6a" providerId="AD" clId="Web-{7ADE9ADE-60A9-4BFD-BC35-7C735EA8A156}" dt="2020-06-08T19:46:39.136" v="183" actId="20577"/>
          <ac:spMkLst>
            <pc:docMk/>
            <pc:sldMk cId="2056646906" sldId="1546"/>
            <ac:spMk id="13" creationId="{196477B7-7838-4677-9DD6-E56F7B3AEDBC}"/>
          </ac:spMkLst>
        </pc:spChg>
      </pc:sldChg>
    </pc:docChg>
  </pc:docChgLst>
  <pc:docChgLst>
    <pc:chgData name="E.L. van der Beek" userId="S::e.l.vanderbeek@erasmusmc.nl::136335d9-f74f-486d-b1c3-bdb3d122d152" providerId="AD" clId="Web-{E4A39C48-F003-4CDE-B382-ED946049CEE9}"/>
    <pc:docChg chg="modSld">
      <pc:chgData name="E.L. van der Beek" userId="S::e.l.vanderbeek@erasmusmc.nl::136335d9-f74f-486d-b1c3-bdb3d122d152" providerId="AD" clId="Web-{E4A39C48-F003-4CDE-B382-ED946049CEE9}" dt="2020-06-25T12:42:48.319" v="51" actId="14100"/>
      <pc:docMkLst>
        <pc:docMk/>
      </pc:docMkLst>
      <pc:sldChg chg="modSp">
        <pc:chgData name="E.L. van der Beek" userId="S::e.l.vanderbeek@erasmusmc.nl::136335d9-f74f-486d-b1c3-bdb3d122d152" providerId="AD" clId="Web-{E4A39C48-F003-4CDE-B382-ED946049CEE9}" dt="2020-06-25T12:42:48.319" v="51" actId="14100"/>
        <pc:sldMkLst>
          <pc:docMk/>
          <pc:sldMk cId="100701953" sldId="1544"/>
        </pc:sldMkLst>
        <pc:spChg chg="mod">
          <ac:chgData name="E.L. van der Beek" userId="S::e.l.vanderbeek@erasmusmc.nl::136335d9-f74f-486d-b1c3-bdb3d122d152" providerId="AD" clId="Web-{E4A39C48-F003-4CDE-B382-ED946049CEE9}" dt="2020-06-25T12:42:38.756" v="32" actId="20577"/>
          <ac:spMkLst>
            <pc:docMk/>
            <pc:sldMk cId="100701953" sldId="1544"/>
            <ac:spMk id="11" creationId="{38708741-921B-494A-B54A-1C0279A205B2}"/>
          </ac:spMkLst>
        </pc:spChg>
        <pc:spChg chg="mod">
          <ac:chgData name="E.L. van der Beek" userId="S::e.l.vanderbeek@erasmusmc.nl::136335d9-f74f-486d-b1c3-bdb3d122d152" providerId="AD" clId="Web-{E4A39C48-F003-4CDE-B382-ED946049CEE9}" dt="2020-06-25T12:42:48.319" v="51" actId="14100"/>
          <ac:spMkLst>
            <pc:docMk/>
            <pc:sldMk cId="100701953" sldId="1544"/>
            <ac:spMk id="16" creationId="{04D8F9DA-94EA-4705-AC9B-63473CE2E4E1}"/>
          </ac:spMkLst>
        </pc:spChg>
      </pc:sldChg>
    </pc:docChg>
  </pc:docChgLst>
  <pc:docChgLst>
    <pc:chgData name="R. Dullaart" userId="S::r.dullaart@erasmusmc.nl::1cca4027-7734-4ca1-9e2d-fc3a9c66ab6a" providerId="AD" clId="Web-{9205605F-21F3-4785-AE9B-1685DC51ADC8}"/>
    <pc:docChg chg="modSld">
      <pc:chgData name="R. Dullaart" userId="S::r.dullaart@erasmusmc.nl::1cca4027-7734-4ca1-9e2d-fc3a9c66ab6a" providerId="AD" clId="Web-{9205605F-21F3-4785-AE9B-1685DC51ADC8}" dt="2020-06-15T10:19:08.312" v="78" actId="20577"/>
      <pc:docMkLst>
        <pc:docMk/>
      </pc:docMkLst>
      <pc:sldChg chg="modSp">
        <pc:chgData name="R. Dullaart" userId="S::r.dullaart@erasmusmc.nl::1cca4027-7734-4ca1-9e2d-fc3a9c66ab6a" providerId="AD" clId="Web-{9205605F-21F3-4785-AE9B-1685DC51ADC8}" dt="2020-06-15T10:19:08.310" v="77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9205605F-21F3-4785-AE9B-1685DC51ADC8}" dt="2020-06-15T10:19:08.310" v="77" actId="20577"/>
          <ac:spMkLst>
            <pc:docMk/>
            <pc:sldMk cId="100701953" sldId="1544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C56F7240-CF2A-4683-A730-5E2AB6FA7C24}"/>
    <pc:docChg chg="modSld">
      <pc:chgData name="E.L. van der Beek" userId="S::e.l.vanderbeek@erasmusmc.nl::136335d9-f74f-486d-b1c3-bdb3d122d152" providerId="AD" clId="Web-{C56F7240-CF2A-4683-A730-5E2AB6FA7C24}" dt="2020-06-16T12:56:48.354" v="13"/>
      <pc:docMkLst>
        <pc:docMk/>
      </pc:docMkLst>
      <pc:sldChg chg="modSp">
        <pc:chgData name="E.L. van der Beek" userId="S::e.l.vanderbeek@erasmusmc.nl::136335d9-f74f-486d-b1c3-bdb3d122d152" providerId="AD" clId="Web-{C56F7240-CF2A-4683-A730-5E2AB6FA7C24}" dt="2020-06-16T12:56:48.354" v="13"/>
        <pc:sldMkLst>
          <pc:docMk/>
          <pc:sldMk cId="2221814300" sldId="1522"/>
        </pc:sldMkLst>
        <pc:graphicFrameChg chg="mod modGraphic">
          <ac:chgData name="E.L. van der Beek" userId="S::e.l.vanderbeek@erasmusmc.nl::136335d9-f74f-486d-b1c3-bdb3d122d152" providerId="AD" clId="Web-{C56F7240-CF2A-4683-A730-5E2AB6FA7C24}" dt="2020-06-16T12:56:48.354" v="13"/>
          <ac:graphicFrameMkLst>
            <pc:docMk/>
            <pc:sldMk cId="2221814300" sldId="1522"/>
            <ac:graphicFrameMk id="3" creationId="{A0722428-66D0-498D-B5FB-C1AB9018410E}"/>
          </ac:graphicFrameMkLst>
        </pc:graphicFrameChg>
      </pc:sldChg>
    </pc:docChg>
  </pc:docChgLst>
  <pc:docChgLst>
    <pc:chgData name="W.M. Dijkhuizen" userId="S::w.dijkhuizen@erasmusmc.nl::fdf5a739-bb06-48ac-8c2b-2bdd327c3597" providerId="AD" clId="Web-{4B95A8CF-3C49-4C1E-97EC-FC09D5E149C6}"/>
    <pc:docChg chg="modSld">
      <pc:chgData name="W.M. Dijkhuizen" userId="S::w.dijkhuizen@erasmusmc.nl::fdf5a739-bb06-48ac-8c2b-2bdd327c3597" providerId="AD" clId="Web-{4B95A8CF-3C49-4C1E-97EC-FC09D5E149C6}" dt="2020-06-10T13:06:31.793" v="15"/>
      <pc:docMkLst>
        <pc:docMk/>
      </pc:docMkLst>
      <pc:sldChg chg="modSp">
        <pc:chgData name="W.M. Dijkhuizen" userId="S::w.dijkhuizen@erasmusmc.nl::fdf5a739-bb06-48ac-8c2b-2bdd327c3597" providerId="AD" clId="Web-{4B95A8CF-3C49-4C1E-97EC-FC09D5E149C6}" dt="2020-06-10T13:06:31.793" v="15"/>
        <pc:sldMkLst>
          <pc:docMk/>
          <pc:sldMk cId="2056646906" sldId="1546"/>
        </pc:sldMkLst>
        <pc:graphicFrameChg chg="mod modGraphic">
          <ac:chgData name="W.M. Dijkhuizen" userId="S::w.dijkhuizen@erasmusmc.nl::fdf5a739-bb06-48ac-8c2b-2bdd327c3597" providerId="AD" clId="Web-{4B95A8CF-3C49-4C1E-97EC-FC09D5E149C6}" dt="2020-06-10T13:06:31.793" v="15"/>
          <ac:graphicFrameMkLst>
            <pc:docMk/>
            <pc:sldMk cId="2056646906" sldId="1546"/>
            <ac:graphicFrameMk id="7" creationId="{32FAA5C1-CD65-448C-8E45-C31529E15E63}"/>
          </ac:graphicFrameMkLst>
        </pc:graphicFrameChg>
      </pc:sldChg>
    </pc:docChg>
  </pc:docChgLst>
  <pc:docChgLst>
    <pc:chgData name="E.L. van der Beek" userId="S::e.l.vanderbeek@erasmusmc.nl::136335d9-f74f-486d-b1c3-bdb3d122d152" providerId="AD" clId="Web-{69383FC3-6FAF-479F-9C1D-F121CE692E71}"/>
    <pc:docChg chg="addSld">
      <pc:chgData name="E.L. van der Beek" userId="S::e.l.vanderbeek@erasmusmc.nl::136335d9-f74f-486d-b1c3-bdb3d122d152" providerId="AD" clId="Web-{69383FC3-6FAF-479F-9C1D-F121CE692E71}" dt="2020-07-06T13:16:29.570" v="0"/>
      <pc:docMkLst>
        <pc:docMk/>
      </pc:docMkLst>
      <pc:sldChg chg="new">
        <pc:chgData name="E.L. van der Beek" userId="S::e.l.vanderbeek@erasmusmc.nl::136335d9-f74f-486d-b1c3-bdb3d122d152" providerId="AD" clId="Web-{69383FC3-6FAF-479F-9C1D-F121CE692E71}" dt="2020-07-06T13:16:29.570" v="0"/>
        <pc:sldMkLst>
          <pc:docMk/>
          <pc:sldMk cId="458947171" sldId="1574"/>
        </pc:sldMkLst>
      </pc:sldChg>
    </pc:docChg>
  </pc:docChgLst>
  <pc:docChgLst>
    <pc:chgData name="E.L. van der Beek" userId="S::e.l.vanderbeek@erasmusmc.nl::136335d9-f74f-486d-b1c3-bdb3d122d152" providerId="AD" clId="Web-{C1718753-4D8F-4557-A9E3-2AE6500B1429}"/>
    <pc:docChg chg="modSld">
      <pc:chgData name="E.L. van der Beek" userId="S::e.l.vanderbeek@erasmusmc.nl::136335d9-f74f-486d-b1c3-bdb3d122d152" providerId="AD" clId="Web-{C1718753-4D8F-4557-A9E3-2AE6500B1429}" dt="2020-06-15T11:36:44.287" v="101" actId="20577"/>
      <pc:docMkLst>
        <pc:docMk/>
      </pc:docMkLst>
      <pc:sldChg chg="modSp">
        <pc:chgData name="E.L. van der Beek" userId="S::e.l.vanderbeek@erasmusmc.nl::136335d9-f74f-486d-b1c3-bdb3d122d152" providerId="AD" clId="Web-{C1718753-4D8F-4557-A9E3-2AE6500B1429}" dt="2020-06-15T11:36:44.287" v="101" actId="20577"/>
        <pc:sldMkLst>
          <pc:docMk/>
          <pc:sldMk cId="750057502" sldId="312"/>
        </pc:sldMkLst>
        <pc:spChg chg="mod">
          <ac:chgData name="E.L. van der Beek" userId="S::e.l.vanderbeek@erasmusmc.nl::136335d9-f74f-486d-b1c3-bdb3d122d152" providerId="AD" clId="Web-{C1718753-4D8F-4557-A9E3-2AE6500B1429}" dt="2020-06-15T11:36:44.287" v="101" actId="20577"/>
          <ac:spMkLst>
            <pc:docMk/>
            <pc:sldMk cId="750057502" sldId="312"/>
            <ac:spMk id="6" creationId="{00000000-0000-0000-0000-000000000000}"/>
          </ac:spMkLst>
        </pc:spChg>
      </pc:sldChg>
    </pc:docChg>
  </pc:docChgLst>
  <pc:docChgLst>
    <pc:chgData name="R. Dullaart" userId="S::r.dullaart@erasmusmc.nl::1cca4027-7734-4ca1-9e2d-fc3a9c66ab6a" providerId="AD" clId="Web-{25BC76C5-7929-4366-874C-375EDE048315}"/>
    <pc:docChg chg="modSld">
      <pc:chgData name="R. Dullaart" userId="S::r.dullaart@erasmusmc.nl::1cca4027-7734-4ca1-9e2d-fc3a9c66ab6a" providerId="AD" clId="Web-{25BC76C5-7929-4366-874C-375EDE048315}" dt="2020-06-10T14:24:20.021" v="66" actId="20577"/>
      <pc:docMkLst>
        <pc:docMk/>
      </pc:docMkLst>
      <pc:sldChg chg="modSp">
        <pc:chgData name="R. Dullaart" userId="S::r.dullaart@erasmusmc.nl::1cca4027-7734-4ca1-9e2d-fc3a9c66ab6a" providerId="AD" clId="Web-{25BC76C5-7929-4366-874C-375EDE048315}" dt="2020-06-10T14:24:20.021" v="66" actId="20577"/>
        <pc:sldMkLst>
          <pc:docMk/>
          <pc:sldMk cId="2266329790" sldId="1543"/>
        </pc:sldMkLst>
        <pc:spChg chg="mod">
          <ac:chgData name="R. Dullaart" userId="S::r.dullaart@erasmusmc.nl::1cca4027-7734-4ca1-9e2d-fc3a9c66ab6a" providerId="AD" clId="Web-{25BC76C5-7929-4366-874C-375EDE048315}" dt="2020-06-10T14:24:20.021" v="66" actId="20577"/>
          <ac:spMkLst>
            <pc:docMk/>
            <pc:sldMk cId="2266329790" sldId="1543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25BC76C5-7929-4366-874C-375EDE048315}" dt="2020-06-10T14:23:53.660" v="29" actId="20577"/>
          <ac:spMkLst>
            <pc:docMk/>
            <pc:sldMk cId="2266329790" sldId="1543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25BC76C5-7929-4366-874C-375EDE048315}" dt="2020-06-10T14:23:32.393" v="3" actId="20577"/>
          <ac:spMkLst>
            <pc:docMk/>
            <pc:sldMk cId="2266329790" sldId="1543"/>
            <ac:spMk id="16" creationId="{04D8F9DA-94EA-4705-AC9B-63473CE2E4E1}"/>
          </ac:spMkLst>
        </pc:spChg>
      </pc:sldChg>
    </pc:docChg>
  </pc:docChgLst>
  <pc:docChgLst>
    <pc:chgData name="E.L. van der Beek" userId="S::e.l.vanderbeek@erasmusmc.nl::136335d9-f74f-486d-b1c3-bdb3d122d152" providerId="AD" clId="Web-{C1E18C11-8F69-4D6C-8675-6A704AF64CBF}"/>
    <pc:docChg chg="delSld modSld">
      <pc:chgData name="E.L. van der Beek" userId="S::e.l.vanderbeek@erasmusmc.nl::136335d9-f74f-486d-b1c3-bdb3d122d152" providerId="AD" clId="Web-{C1E18C11-8F69-4D6C-8675-6A704AF64CBF}" dt="2020-07-06T12:47:47.611" v="374" actId="1076"/>
      <pc:docMkLst>
        <pc:docMk/>
      </pc:docMkLst>
      <pc:sldChg chg="modSp">
        <pc:chgData name="E.L. van der Beek" userId="S::e.l.vanderbeek@erasmusmc.nl::136335d9-f74f-486d-b1c3-bdb3d122d152" providerId="AD" clId="Web-{C1E18C11-8F69-4D6C-8675-6A704AF64CBF}" dt="2020-07-06T12:47:13.673" v="367" actId="20577"/>
        <pc:sldMkLst>
          <pc:docMk/>
          <pc:sldMk cId="3112574146" sldId="1561"/>
        </pc:sldMkLst>
        <pc:spChg chg="mod">
          <ac:chgData name="E.L. van der Beek" userId="S::e.l.vanderbeek@erasmusmc.nl::136335d9-f74f-486d-b1c3-bdb3d122d152" providerId="AD" clId="Web-{C1E18C11-8F69-4D6C-8675-6A704AF64CBF}" dt="2020-07-06T12:47:13.673" v="367" actId="20577"/>
          <ac:spMkLst>
            <pc:docMk/>
            <pc:sldMk cId="3112574146" sldId="1561"/>
            <ac:spMk id="4" creationId="{6E2F580C-C29F-4815-BC48-12A952FAACAA}"/>
          </ac:spMkLst>
        </pc:spChg>
      </pc:sldChg>
      <pc:sldChg chg="modSp">
        <pc:chgData name="E.L. van der Beek" userId="S::e.l.vanderbeek@erasmusmc.nl::136335d9-f74f-486d-b1c3-bdb3d122d152" providerId="AD" clId="Web-{C1E18C11-8F69-4D6C-8675-6A704AF64CBF}" dt="2020-07-06T12:46:55.860" v="363" actId="20577"/>
        <pc:sldMkLst>
          <pc:docMk/>
          <pc:sldMk cId="810627058" sldId="1564"/>
        </pc:sldMkLst>
        <pc:spChg chg="mod">
          <ac:chgData name="E.L. van der Beek" userId="S::e.l.vanderbeek@erasmusmc.nl::136335d9-f74f-486d-b1c3-bdb3d122d152" providerId="AD" clId="Web-{C1E18C11-8F69-4D6C-8675-6A704AF64CBF}" dt="2020-07-06T12:46:55.860" v="363" actId="20577"/>
          <ac:spMkLst>
            <pc:docMk/>
            <pc:sldMk cId="810627058" sldId="1564"/>
            <ac:spMk id="4" creationId="{6E2F580C-C29F-4815-BC48-12A952FAACAA}"/>
          </ac:spMkLst>
        </pc:spChg>
        <pc:spChg chg="mod">
          <ac:chgData name="E.L. van der Beek" userId="S::e.l.vanderbeek@erasmusmc.nl::136335d9-f74f-486d-b1c3-bdb3d122d152" providerId="AD" clId="Web-{C1E18C11-8F69-4D6C-8675-6A704AF64CBF}" dt="2020-07-06T12:46:48.813" v="355" actId="1076"/>
          <ac:spMkLst>
            <pc:docMk/>
            <pc:sldMk cId="810627058" sldId="1564"/>
            <ac:spMk id="11" creationId="{38708741-921B-494A-B54A-1C0279A205B2}"/>
          </ac:spMkLst>
        </pc:spChg>
      </pc:sldChg>
      <pc:sldChg chg="modSp">
        <pc:chgData name="E.L. van der Beek" userId="S::e.l.vanderbeek@erasmusmc.nl::136335d9-f74f-486d-b1c3-bdb3d122d152" providerId="AD" clId="Web-{C1E18C11-8F69-4D6C-8675-6A704AF64CBF}" dt="2020-07-06T12:47:47.611" v="374" actId="1076"/>
        <pc:sldMkLst>
          <pc:docMk/>
          <pc:sldMk cId="841276698" sldId="1570"/>
        </pc:sldMkLst>
        <pc:spChg chg="mod">
          <ac:chgData name="E.L. van der Beek" userId="S::e.l.vanderbeek@erasmusmc.nl::136335d9-f74f-486d-b1c3-bdb3d122d152" providerId="AD" clId="Web-{C1E18C11-8F69-4D6C-8675-6A704AF64CBF}" dt="2020-07-06T12:47:47.611" v="374" actId="1076"/>
          <ac:spMkLst>
            <pc:docMk/>
            <pc:sldMk cId="841276698" sldId="1570"/>
            <ac:spMk id="8" creationId="{00000000-0000-0000-0000-000000000000}"/>
          </ac:spMkLst>
        </pc:spChg>
      </pc:sldChg>
      <pc:sldChg chg="del">
        <pc:chgData name="E.L. van der Beek" userId="S::e.l.vanderbeek@erasmusmc.nl::136335d9-f74f-486d-b1c3-bdb3d122d152" providerId="AD" clId="Web-{C1E18C11-8F69-4D6C-8675-6A704AF64CBF}" dt="2020-07-06T12:46:32.329" v="352"/>
        <pc:sldMkLst>
          <pc:docMk/>
          <pc:sldMk cId="3340032854" sldId="1575"/>
        </pc:sldMkLst>
      </pc:sldChg>
      <pc:sldChg chg="del">
        <pc:chgData name="E.L. van der Beek" userId="S::e.l.vanderbeek@erasmusmc.nl::136335d9-f74f-486d-b1c3-bdb3d122d152" providerId="AD" clId="Web-{C1E18C11-8F69-4D6C-8675-6A704AF64CBF}" dt="2020-07-06T12:46:36.641" v="353"/>
        <pc:sldMkLst>
          <pc:docMk/>
          <pc:sldMk cId="2501986491" sldId="1576"/>
        </pc:sldMkLst>
      </pc:sldChg>
      <pc:sldChg chg="del">
        <pc:chgData name="E.L. van der Beek" userId="S::e.l.vanderbeek@erasmusmc.nl::136335d9-f74f-486d-b1c3-bdb3d122d152" providerId="AD" clId="Web-{C1E18C11-8F69-4D6C-8675-6A704AF64CBF}" dt="2020-07-06T12:46:41.110" v="354"/>
        <pc:sldMkLst>
          <pc:docMk/>
          <pc:sldMk cId="311490235" sldId="1577"/>
        </pc:sldMkLst>
      </pc:sldChg>
    </pc:docChg>
  </pc:docChgLst>
  <pc:docChgLst>
    <pc:chgData name="R. Dullaart" userId="S::r.dullaart@erasmusmc.nl::1cca4027-7734-4ca1-9e2d-fc3a9c66ab6a" providerId="AD" clId="Web-{13D99AF4-3FF6-461B-B3D3-BB8BFE4C2D9E}"/>
    <pc:docChg chg="addSld modSld sldOrd">
      <pc:chgData name="R. Dullaart" userId="S::r.dullaart@erasmusmc.nl::1cca4027-7734-4ca1-9e2d-fc3a9c66ab6a" providerId="AD" clId="Web-{13D99AF4-3FF6-461B-B3D3-BB8BFE4C2D9E}" dt="2020-06-09T12:19:46.767" v="1054" actId="20577"/>
      <pc:docMkLst>
        <pc:docMk/>
      </pc:docMkLst>
      <pc:sldChg chg="modSp">
        <pc:chgData name="R. Dullaart" userId="S::r.dullaart@erasmusmc.nl::1cca4027-7734-4ca1-9e2d-fc3a9c66ab6a" providerId="AD" clId="Web-{13D99AF4-3FF6-461B-B3D3-BB8BFE4C2D9E}" dt="2020-06-09T12:16:42.389" v="883" actId="20577"/>
        <pc:sldMkLst>
          <pc:docMk/>
          <pc:sldMk cId="453084187" sldId="1530"/>
        </pc:sldMkLst>
        <pc:spChg chg="mod">
          <ac:chgData name="R. Dullaart" userId="S::r.dullaart@erasmusmc.nl::1cca4027-7734-4ca1-9e2d-fc3a9c66ab6a" providerId="AD" clId="Web-{13D99AF4-3FF6-461B-B3D3-BB8BFE4C2D9E}" dt="2020-06-09T12:16:42.389" v="883" actId="20577"/>
          <ac:spMkLst>
            <pc:docMk/>
            <pc:sldMk cId="453084187" sldId="1530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2:17:05.515" v="907" actId="20577"/>
        <pc:sldMkLst>
          <pc:docMk/>
          <pc:sldMk cId="2685514917" sldId="1532"/>
        </pc:sldMkLst>
        <pc:spChg chg="mod">
          <ac:chgData name="R. Dullaart" userId="S::r.dullaart@erasmusmc.nl::1cca4027-7734-4ca1-9e2d-fc3a9c66ab6a" providerId="AD" clId="Web-{13D99AF4-3FF6-461B-B3D3-BB8BFE4C2D9E}" dt="2020-06-09T12:17:05.515" v="907" actId="20577"/>
          <ac:spMkLst>
            <pc:docMk/>
            <pc:sldMk cId="2685514917" sldId="1532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2:17:29.656" v="911" actId="20577"/>
        <pc:sldMkLst>
          <pc:docMk/>
          <pc:sldMk cId="1422739719" sldId="1541"/>
        </pc:sldMkLst>
        <pc:spChg chg="mod">
          <ac:chgData name="R. Dullaart" userId="S::r.dullaart@erasmusmc.nl::1cca4027-7734-4ca1-9e2d-fc3a9c66ab6a" providerId="AD" clId="Web-{13D99AF4-3FF6-461B-B3D3-BB8BFE4C2D9E}" dt="2020-06-09T11:47:04.328" v="19" actId="14100"/>
          <ac:spMkLst>
            <pc:docMk/>
            <pc:sldMk cId="1422739719" sldId="1541"/>
            <ac:spMk id="11" creationId="{38708741-921B-494A-B54A-1C0279A205B2}"/>
          </ac:spMkLst>
        </pc:spChg>
        <pc:spChg chg="mod">
          <ac:chgData name="R. Dullaart" userId="S::r.dullaart@erasmusmc.nl::1cca4027-7734-4ca1-9e2d-fc3a9c66ab6a" providerId="AD" clId="Web-{13D99AF4-3FF6-461B-B3D3-BB8BFE4C2D9E}" dt="2020-06-09T12:17:29.656" v="911" actId="20577"/>
          <ac:spMkLst>
            <pc:docMk/>
            <pc:sldMk cId="1422739719" sldId="1541"/>
            <ac:spMk id="16" creationId="{04D8F9DA-94EA-4705-AC9B-63473CE2E4E1}"/>
          </ac:spMkLst>
        </pc:spChg>
      </pc:sldChg>
      <pc:sldChg chg="modSp">
        <pc:chgData name="R. Dullaart" userId="S::r.dullaart@erasmusmc.nl::1cca4027-7734-4ca1-9e2d-fc3a9c66ab6a" providerId="AD" clId="Web-{13D99AF4-3FF6-461B-B3D3-BB8BFE4C2D9E}" dt="2020-06-09T11:36:12.427" v="10" actId="20577"/>
        <pc:sldMkLst>
          <pc:docMk/>
          <pc:sldMk cId="100701953" sldId="1544"/>
        </pc:sldMkLst>
        <pc:spChg chg="mod">
          <ac:chgData name="R. Dullaart" userId="S::r.dullaart@erasmusmc.nl::1cca4027-7734-4ca1-9e2d-fc3a9c66ab6a" providerId="AD" clId="Web-{13D99AF4-3FF6-461B-B3D3-BB8BFE4C2D9E}" dt="2020-06-09T11:36:12.427" v="10" actId="20577"/>
          <ac:spMkLst>
            <pc:docMk/>
            <pc:sldMk cId="100701953" sldId="1544"/>
            <ac:spMk id="16" creationId="{04D8F9DA-94EA-4705-AC9B-63473CE2E4E1}"/>
          </ac:spMkLst>
        </pc:spChg>
      </pc:sldChg>
      <pc:sldChg chg="addSp delSp modSp">
        <pc:chgData name="R. Dullaart" userId="S::r.dullaart@erasmusmc.nl::1cca4027-7734-4ca1-9e2d-fc3a9c66ab6a" providerId="AD" clId="Web-{13D99AF4-3FF6-461B-B3D3-BB8BFE4C2D9E}" dt="2020-06-09T12:17:46.312" v="915" actId="1076"/>
        <pc:sldMkLst>
          <pc:docMk/>
          <pc:sldMk cId="2056646906" sldId="1546"/>
        </pc:sldMkLst>
        <pc:spChg chg="del">
          <ac:chgData name="R. Dullaart" userId="S::r.dullaart@erasmusmc.nl::1cca4027-7734-4ca1-9e2d-fc3a9c66ab6a" providerId="AD" clId="Web-{13D99AF4-3FF6-461B-B3D3-BB8BFE4C2D9E}" dt="2020-06-09T12:01:46.015" v="764"/>
          <ac:spMkLst>
            <pc:docMk/>
            <pc:sldMk cId="2056646906" sldId="1546"/>
            <ac:spMk id="96" creationId="{E2A99F1C-BB8F-4744-8FE0-67823C8360E4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6.015" v="765"/>
          <ac:spMkLst>
            <pc:docMk/>
            <pc:sldMk cId="2056646906" sldId="1546"/>
            <ac:spMk id="97" creationId="{6EC7722F-5594-44C5-81CF-B0942B21A502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2"/>
          <ac:spMkLst>
            <pc:docMk/>
            <pc:sldMk cId="2056646906" sldId="1546"/>
            <ac:spMk id="98" creationId="{1126760E-571D-4DA0-8848-855BDDDB2582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6.015" v="763"/>
          <ac:spMkLst>
            <pc:docMk/>
            <pc:sldMk cId="2056646906" sldId="1546"/>
            <ac:spMk id="100" creationId="{EB1F0B4B-3DC7-482E-971B-1B1C428636CD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1"/>
          <ac:spMkLst>
            <pc:docMk/>
            <pc:sldMk cId="2056646906" sldId="1546"/>
            <ac:spMk id="101" creationId="{D04AD2EB-8F09-4C8F-BF58-4ED8F064AE9C}"/>
          </ac:spMkLst>
        </pc:spChg>
        <pc:spChg chg="del">
          <ac:chgData name="R. Dullaart" userId="S::r.dullaart@erasmusmc.nl::1cca4027-7734-4ca1-9e2d-fc3a9c66ab6a" providerId="AD" clId="Web-{13D99AF4-3FF6-461B-B3D3-BB8BFE4C2D9E}" dt="2020-06-09T12:01:45.999" v="760"/>
          <ac:spMkLst>
            <pc:docMk/>
            <pc:sldMk cId="2056646906" sldId="1546"/>
            <ac:spMk id="122" creationId="{0F8390E2-BC8F-4FA1-92DB-24A14DDFEC4E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3"/>
          <ac:spMkLst>
            <pc:docMk/>
            <pc:sldMk cId="2056646906" sldId="1546"/>
            <ac:spMk id="125" creationId="{B44CD42D-FCC2-4D01-B6D3-01D6B508A331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1"/>
          <ac:spMkLst>
            <pc:docMk/>
            <pc:sldMk cId="2056646906" sldId="1546"/>
            <ac:spMk id="126" creationId="{ECC75833-91D8-495D-BD90-2FBC84EC644E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2"/>
          <ac:spMkLst>
            <pc:docMk/>
            <pc:sldMk cId="2056646906" sldId="1546"/>
            <ac:spMk id="129" creationId="{F63F57B4-F00E-4389-83BD-E728AB254577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5"/>
          <ac:spMkLst>
            <pc:docMk/>
            <pc:sldMk cId="2056646906" sldId="1546"/>
            <ac:spMk id="167" creationId="{4BBFBAE3-8234-4BB7-A674-8C87658B132C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4"/>
          <ac:spMkLst>
            <pc:docMk/>
            <pc:sldMk cId="2056646906" sldId="1546"/>
            <ac:spMk id="173" creationId="{E459F1B1-2270-40B2-AD67-BC688D5A1842}"/>
          </ac:spMkLst>
        </pc:spChg>
        <pc:spChg chg="del">
          <ac:chgData name="R. Dullaart" userId="S::r.dullaart@erasmusmc.nl::1cca4027-7734-4ca1-9e2d-fc3a9c66ab6a" providerId="AD" clId="Web-{13D99AF4-3FF6-461B-B3D3-BB8BFE4C2D9E}" dt="2020-06-09T12:11:45.556" v="786"/>
          <ac:spMkLst>
            <pc:docMk/>
            <pc:sldMk cId="2056646906" sldId="1546"/>
            <ac:spMk id="174" creationId="{6FA46C06-37F5-40FE-9A37-58528814FC6B}"/>
          </ac:spMkLst>
        </pc:spChg>
        <pc:spChg chg="mod">
          <ac:chgData name="R. Dullaart" userId="S::r.dullaart@erasmusmc.nl::1cca4027-7734-4ca1-9e2d-fc3a9c66ab6a" providerId="AD" clId="Web-{13D99AF4-3FF6-461B-B3D3-BB8BFE4C2D9E}" dt="2020-06-09T12:12:52.557" v="803" actId="20577"/>
          <ac:spMkLst>
            <pc:docMk/>
            <pc:sldMk cId="2056646906" sldId="1546"/>
            <ac:spMk id="191" creationId="{34F3CFC2-546F-4014-B280-8473C2B303A9}"/>
          </ac:spMkLst>
        </pc:spChg>
        <pc:graphicFrameChg chg="add mod modGraphic">
          <ac:chgData name="R. Dullaart" userId="S::r.dullaart@erasmusmc.nl::1cca4027-7734-4ca1-9e2d-fc3a9c66ab6a" providerId="AD" clId="Web-{13D99AF4-3FF6-461B-B3D3-BB8BFE4C2D9E}" dt="2020-06-09T12:17:42.140" v="914"/>
          <ac:graphicFrameMkLst>
            <pc:docMk/>
            <pc:sldMk cId="2056646906" sldId="1546"/>
            <ac:graphicFrameMk id="7" creationId="{32FAA5C1-CD65-448C-8E45-C31529E15E63}"/>
          </ac:graphicFrameMkLst>
        </pc:graphicFrameChg>
        <pc:picChg chg="add mod">
          <ac:chgData name="R. Dullaart" userId="S::r.dullaart@erasmusmc.nl::1cca4027-7734-4ca1-9e2d-fc3a9c66ab6a" providerId="AD" clId="Web-{13D99AF4-3FF6-461B-B3D3-BB8BFE4C2D9E}" dt="2020-06-09T11:45:01.436" v="14" actId="1076"/>
          <ac:picMkLst>
            <pc:docMk/>
            <pc:sldMk cId="2056646906" sldId="1546"/>
            <ac:picMk id="4" creationId="{D6FCB8F2-3B29-4F87-878E-97A62230E3A3}"/>
          </ac:picMkLst>
        </pc:picChg>
        <pc:picChg chg="add mod">
          <ac:chgData name="R. Dullaart" userId="S::r.dullaart@erasmusmc.nl::1cca4027-7734-4ca1-9e2d-fc3a9c66ab6a" providerId="AD" clId="Web-{13D99AF4-3FF6-461B-B3D3-BB8BFE4C2D9E}" dt="2020-06-09T12:17:46.312" v="915" actId="1076"/>
          <ac:picMkLst>
            <pc:docMk/>
            <pc:sldMk cId="2056646906" sldId="1546"/>
            <ac:picMk id="5" creationId="{674E0867-423A-491E-A72D-7079A2074C47}"/>
          </ac:picMkLst>
        </pc:picChg>
      </pc:sldChg>
      <pc:sldChg chg="modSp add ord replId">
        <pc:chgData name="R. Dullaart" userId="S::r.dullaart@erasmusmc.nl::1cca4027-7734-4ca1-9e2d-fc3a9c66ab6a" providerId="AD" clId="Web-{13D99AF4-3FF6-461B-B3D3-BB8BFE4C2D9E}" dt="2020-06-09T12:19:46.767" v="1053" actId="20577"/>
        <pc:sldMkLst>
          <pc:docMk/>
          <pc:sldMk cId="3356465858" sldId="1547"/>
        </pc:sldMkLst>
        <pc:spChg chg="mod">
          <ac:chgData name="R. Dullaart" userId="S::r.dullaart@erasmusmc.nl::1cca4027-7734-4ca1-9e2d-fc3a9c66ab6a" providerId="AD" clId="Web-{13D99AF4-3FF6-461B-B3D3-BB8BFE4C2D9E}" dt="2020-06-09T12:13:23.042" v="820" actId="20577"/>
          <ac:spMkLst>
            <pc:docMk/>
            <pc:sldMk cId="3356465858" sldId="1547"/>
            <ac:spMk id="13" creationId="{196477B7-7838-4677-9DD6-E56F7B3AEDBC}"/>
          </ac:spMkLst>
        </pc:spChg>
        <pc:spChg chg="mod">
          <ac:chgData name="R. Dullaart" userId="S::r.dullaart@erasmusmc.nl::1cca4027-7734-4ca1-9e2d-fc3a9c66ab6a" providerId="AD" clId="Web-{13D99AF4-3FF6-461B-B3D3-BB8BFE4C2D9E}" dt="2020-06-09T12:19:46.767" v="1053" actId="20577"/>
          <ac:spMkLst>
            <pc:docMk/>
            <pc:sldMk cId="3356465858" sldId="1547"/>
            <ac:spMk id="16" creationId="{04D8F9DA-94EA-4705-AC9B-63473CE2E4E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CB8315-DC43-429B-8037-975CBF7E8FC3}" type="datetimeFigureOut">
              <a:rPr lang="en-US" smtClean="0"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867984-8B7B-4E37-AA2F-95DA2DA1447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7981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076872-C983-4BC7-970B-6DBC9571181F}" type="datetimeFigureOut">
              <a:rPr lang="nl-NL" smtClean="0"/>
              <a:t>31-01-2025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90B369-E1F4-4768-A268-7E7164DAD02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692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1671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336985-43AC-433C-8976-44A67F60F44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932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221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90B369-E1F4-4768-A268-7E7164DAD02D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0573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00"/>
          <a:stretch/>
        </p:blipFill>
        <p:spPr>
          <a:xfrm>
            <a:off x="4023360" y="6886"/>
            <a:ext cx="512064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67544" y="987574"/>
            <a:ext cx="6264696" cy="1512167"/>
          </a:xfrm>
        </p:spPr>
        <p:txBody>
          <a:bodyPr wrap="square" tIns="46800" bIns="46800">
            <a:noAutofit/>
          </a:bodyPr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TITEL</a:t>
            </a:r>
            <a:endParaRPr lang="nl-NL"/>
          </a:p>
        </p:txBody>
      </p:sp>
      <p:sp>
        <p:nvSpPr>
          <p:cNvPr id="13" name="Text Placehold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67544" y="555526"/>
            <a:ext cx="6264696" cy="432047"/>
          </a:xfrm>
        </p:spPr>
        <p:txBody>
          <a:bodyPr>
            <a:noAutofit/>
          </a:bodyPr>
          <a:lstStyle>
            <a:lvl1pPr marL="0" indent="0">
              <a:buNone/>
              <a:defRPr sz="2400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Subtitel optioneel</a:t>
            </a:r>
          </a:p>
        </p:txBody>
      </p:sp>
      <p:sp>
        <p:nvSpPr>
          <p:cNvPr id="5" name="Text Placeholder 4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67544" y="3364243"/>
            <a:ext cx="4752528" cy="359636"/>
          </a:xfrm>
        </p:spPr>
        <p:txBody>
          <a:bodyPr>
            <a:noAutofit/>
          </a:bodyPr>
          <a:lstStyle>
            <a:lvl1pPr marL="0" indent="0">
              <a:buNone/>
              <a:defRPr sz="1400" b="1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err="1"/>
              <a:t>Subregel</a:t>
            </a:r>
            <a:r>
              <a:rPr lang="nl-NL"/>
              <a:t> 1 optioneel</a:t>
            </a:r>
          </a:p>
        </p:txBody>
      </p:sp>
      <p:sp>
        <p:nvSpPr>
          <p:cNvPr id="9" name="Text Placeholder 4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67544" y="3723878"/>
            <a:ext cx="4752528" cy="359636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err="1"/>
              <a:t>Subregel</a:t>
            </a:r>
            <a:r>
              <a:rPr lang="nl-NL"/>
              <a:t> 2 optioneel</a:t>
            </a:r>
          </a:p>
        </p:txBody>
      </p:sp>
    </p:spTree>
    <p:extLst>
      <p:ext uri="{BB962C8B-B14F-4D97-AF65-F5344CB8AC3E}">
        <p14:creationId xmlns:p14="http://schemas.microsoft.com/office/powerpoint/2010/main" val="68981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14960"/>
          <a:stretch/>
        </p:blipFill>
        <p:spPr bwMode="auto">
          <a:xfrm>
            <a:off x="0" y="0"/>
            <a:ext cx="91678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3477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3003798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598194"/>
            <a:ext cx="8737005" cy="342210"/>
            <a:chOff x="45044" y="4598194"/>
            <a:chExt cx="8737005" cy="342210"/>
          </a:xfrm>
        </p:grpSpPr>
        <p:pic>
          <p:nvPicPr>
            <p:cNvPr id="24" name="Afbeelding 9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1"/>
            <a:stretch/>
          </p:blipFill>
          <p:spPr>
            <a:xfrm>
              <a:off x="7908588" y="4598194"/>
              <a:ext cx="873461" cy="342210"/>
            </a:xfrm>
            <a:prstGeom prst="rect">
              <a:avLst/>
            </a:prstGeom>
          </p:spPr>
        </p:pic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8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60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6"/>
          </p:nvPr>
        </p:nvSpPr>
        <p:spPr>
          <a:xfrm>
            <a:off x="539552" y="3003797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6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353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539552" y="1347614"/>
            <a:ext cx="8136904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6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4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0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379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539552" y="1347614"/>
            <a:ext cx="8136904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681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3240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04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3240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3138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06077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19280" y="1347614"/>
            <a:ext cx="4057176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19280" y="3003797"/>
            <a:ext cx="4057176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21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21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2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3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6460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87" b="5838"/>
          <a:stretch/>
        </p:blipFill>
        <p:spPr bwMode="auto">
          <a:xfrm>
            <a:off x="-11906" y="0"/>
            <a:ext cx="9155906" cy="5143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239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2931790"/>
            <a:ext cx="7772400" cy="1394942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/>
              <a:t>TUSSENTIT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66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7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04" b="8451"/>
          <a:stretch/>
        </p:blipFill>
        <p:spPr bwMode="auto">
          <a:xfrm>
            <a:off x="0" y="0"/>
            <a:ext cx="917019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239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5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137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/>
          </p:nvPr>
        </p:nvSpPr>
        <p:spPr>
          <a:xfrm>
            <a:off x="4644456" y="1347614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003798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19"/>
          </p:nvPr>
        </p:nvSpPr>
        <p:spPr>
          <a:xfrm>
            <a:off x="4644456" y="3003797"/>
            <a:ext cx="4032000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4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4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5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7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071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912000\Downloads\med_majamaticenronvanschaiklabwerk0613-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739"/>
          <a:stretch/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7950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 noChangeArrowheads="1"/>
          </p:cNvPicPr>
          <p:nvPr userDrawn="1"/>
        </p:nvPicPr>
        <p:blipFill rotWithShape="1">
          <a:blip r:embed="rId2"/>
          <a:srcRect t="5407" b="10395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04229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eel Verzu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1800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2339752" y="1347614"/>
            <a:ext cx="1800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3219822"/>
            <a:ext cx="3600000" cy="13681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7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5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91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090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rfkracht_Promo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3795886"/>
            <a:ext cx="8136904" cy="792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1" name="Content Placeholder 9"/>
          <p:cNvSpPr>
            <a:spLocks noGrp="1"/>
          </p:cNvSpPr>
          <p:nvPr>
            <p:ph sz="quarter" idx="18"/>
          </p:nvPr>
        </p:nvSpPr>
        <p:spPr>
          <a:xfrm>
            <a:off x="539552" y="1347615"/>
            <a:ext cx="8136904" cy="24482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88422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catureto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4599178" cy="3240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7"/>
          </p:nvPr>
        </p:nvSpPr>
        <p:spPr>
          <a:xfrm>
            <a:off x="5215554" y="1347614"/>
            <a:ext cx="3460901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/>
          </p:nvPr>
        </p:nvSpPr>
        <p:spPr>
          <a:xfrm>
            <a:off x="5215554" y="3003797"/>
            <a:ext cx="3460901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25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9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0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1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3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9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9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86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244262" y="1347613"/>
            <a:ext cx="2432194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5612634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2863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45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72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all" baseline="0"/>
            </a:lvl1pPr>
          </a:lstStyle>
          <a:p>
            <a:pPr lvl="0"/>
            <a:r>
              <a:rPr lang="nl-NL"/>
              <a:t>INHOUD/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0108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4">
            <a:extLst>
              <a:ext uri="{FF2B5EF4-FFF2-40B4-BE49-F238E27FC236}">
                <a16:creationId xmlns:a16="http://schemas.microsoft.com/office/drawing/2014/main" id="{FD535C9E-AD07-3245-BD56-E8BBF94ADFF4}"/>
              </a:ext>
            </a:extLst>
          </p:cNvPr>
          <p:cNvSpPr txBox="1"/>
          <p:nvPr userDrawn="1"/>
        </p:nvSpPr>
        <p:spPr>
          <a:xfrm>
            <a:off x="0" y="1007864"/>
            <a:ext cx="9144000" cy="3727392"/>
          </a:xfrm>
          <a:prstGeom prst="rect">
            <a:avLst/>
          </a:prstGeom>
          <a:solidFill>
            <a:srgbClr val="86D2ED">
              <a:alpha val="26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lvl="1"/>
            <a:endParaRPr lang="nl-NL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3691"/>
            <a:ext cx="9144000" cy="994172"/>
          </a:xfrm>
          <a:prstGeom prst="rect">
            <a:avLst/>
          </a:prstGeom>
        </p:spPr>
        <p:txBody>
          <a:bodyPr lIns="450000" tIns="288000" rIns="540000" bIns="180000"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FF3D94-2BAA-8A41-9ED8-C33F6CDFF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600" y="1082535"/>
            <a:ext cx="5097512" cy="337087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</p:txBody>
      </p:sp>
    </p:spTree>
    <p:extLst>
      <p:ext uri="{BB962C8B-B14F-4D97-AF65-F5344CB8AC3E}">
        <p14:creationId xmlns:p14="http://schemas.microsoft.com/office/powerpoint/2010/main" val="2108612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squar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71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7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308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8136904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3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7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7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7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454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39552" y="1340965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3003798"/>
            <a:ext cx="8135938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09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ext Placeholder 2"/>
          <p:cNvSpPr>
            <a:spLocks noGrp="1"/>
          </p:cNvSpPr>
          <p:nvPr>
            <p:ph idx="14"/>
          </p:nvPr>
        </p:nvSpPr>
        <p:spPr>
          <a:xfrm>
            <a:off x="539552" y="3003798"/>
            <a:ext cx="8136904" cy="1590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5"/>
            <a:ext cx="8135938" cy="158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3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4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8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78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49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4644456" y="1347613"/>
            <a:ext cx="4032000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4032000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5044" y="4671098"/>
            <a:ext cx="7578771" cy="157499"/>
            <a:chOff x="45044" y="4671098"/>
            <a:chExt cx="7578771" cy="157499"/>
          </a:xfrm>
        </p:grpSpPr>
        <p:sp>
          <p:nvSpPr>
            <p:cNvPr id="18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6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7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8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180" name="Afbeelding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"/>
          <a:stretch/>
        </p:blipFill>
        <p:spPr>
          <a:xfrm>
            <a:off x="7908588" y="4598194"/>
            <a:ext cx="873461" cy="342210"/>
          </a:xfrm>
          <a:prstGeom prst="rect">
            <a:avLst/>
          </a:prstGeom>
        </p:spPr>
      </p:pic>
      <p:sp>
        <p:nvSpPr>
          <p:cNvPr id="186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19548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428093" y="771550"/>
            <a:ext cx="7248363" cy="504056"/>
          </a:xfrm>
        </p:spPr>
        <p:txBody>
          <a:bodyPr wrap="none" bIns="46800" anchor="b" anchorCtr="0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err="1"/>
              <a:t>Subtitle</a:t>
            </a:r>
            <a:endParaRPr lang="en-US"/>
          </a:p>
        </p:txBody>
      </p:sp>
      <p:sp>
        <p:nvSpPr>
          <p:cNvPr id="18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740352" y="195262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  <p:sp>
        <p:nvSpPr>
          <p:cNvPr id="19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19548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01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644456" y="1347613"/>
            <a:ext cx="4032000" cy="324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5"/>
          </p:nvPr>
        </p:nvSpPr>
        <p:spPr>
          <a:xfrm>
            <a:off x="539552" y="1347614"/>
            <a:ext cx="4032000" cy="324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45044" y="4593931"/>
            <a:ext cx="8737005" cy="346473"/>
            <a:chOff x="45044" y="4593931"/>
            <a:chExt cx="8737005" cy="346473"/>
          </a:xfrm>
        </p:grpSpPr>
        <p:pic>
          <p:nvPicPr>
            <p:cNvPr id="15" name="Afbeelding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588" y="4593931"/>
              <a:ext cx="873461" cy="346473"/>
            </a:xfrm>
            <a:prstGeom prst="rect">
              <a:avLst/>
            </a:prstGeom>
          </p:spPr>
        </p:pic>
        <p:sp>
          <p:nvSpPr>
            <p:cNvPr id="19" name="Rechthoek 10"/>
            <p:cNvSpPr/>
            <p:nvPr userDrawn="1"/>
          </p:nvSpPr>
          <p:spPr>
            <a:xfrm>
              <a:off x="45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1"/>
            <p:cNvSpPr/>
            <p:nvPr userDrawn="1"/>
          </p:nvSpPr>
          <p:spPr>
            <a:xfrm>
              <a:off x="45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12"/>
            <p:cNvSpPr/>
            <p:nvPr userDrawn="1"/>
          </p:nvSpPr>
          <p:spPr>
            <a:xfrm>
              <a:off x="137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13"/>
            <p:cNvSpPr/>
            <p:nvPr userDrawn="1"/>
          </p:nvSpPr>
          <p:spPr>
            <a:xfrm>
              <a:off x="137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14"/>
            <p:cNvSpPr/>
            <p:nvPr userDrawn="1"/>
          </p:nvSpPr>
          <p:spPr>
            <a:xfrm>
              <a:off x="238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15"/>
            <p:cNvSpPr/>
            <p:nvPr userDrawn="1"/>
          </p:nvSpPr>
          <p:spPr>
            <a:xfrm>
              <a:off x="238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16"/>
            <p:cNvSpPr/>
            <p:nvPr userDrawn="1"/>
          </p:nvSpPr>
          <p:spPr>
            <a:xfrm>
              <a:off x="330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17"/>
            <p:cNvSpPr/>
            <p:nvPr userDrawn="1"/>
          </p:nvSpPr>
          <p:spPr>
            <a:xfrm>
              <a:off x="330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Rechthoek 18"/>
            <p:cNvSpPr/>
            <p:nvPr userDrawn="1"/>
          </p:nvSpPr>
          <p:spPr>
            <a:xfrm>
              <a:off x="422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hthoek 19"/>
            <p:cNvSpPr/>
            <p:nvPr userDrawn="1"/>
          </p:nvSpPr>
          <p:spPr>
            <a:xfrm>
              <a:off x="422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9" name="Rechthoek 20"/>
            <p:cNvSpPr/>
            <p:nvPr userDrawn="1"/>
          </p:nvSpPr>
          <p:spPr>
            <a:xfrm>
              <a:off x="514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0" name="Rechthoek 21"/>
            <p:cNvSpPr/>
            <p:nvPr userDrawn="1"/>
          </p:nvSpPr>
          <p:spPr>
            <a:xfrm>
              <a:off x="514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1" name="Rechthoek 22"/>
            <p:cNvSpPr/>
            <p:nvPr userDrawn="1"/>
          </p:nvSpPr>
          <p:spPr>
            <a:xfrm>
              <a:off x="616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2" name="Rechthoek 23"/>
            <p:cNvSpPr/>
            <p:nvPr userDrawn="1"/>
          </p:nvSpPr>
          <p:spPr>
            <a:xfrm>
              <a:off x="616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3" name="Rechthoek 24"/>
            <p:cNvSpPr/>
            <p:nvPr userDrawn="1"/>
          </p:nvSpPr>
          <p:spPr>
            <a:xfrm>
              <a:off x="708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4" name="Rechthoek 25"/>
            <p:cNvSpPr/>
            <p:nvPr userDrawn="1"/>
          </p:nvSpPr>
          <p:spPr>
            <a:xfrm>
              <a:off x="708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5" name="Rechthoek 26"/>
            <p:cNvSpPr/>
            <p:nvPr userDrawn="1"/>
          </p:nvSpPr>
          <p:spPr>
            <a:xfrm>
              <a:off x="807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6" name="Rechthoek 27"/>
            <p:cNvSpPr/>
            <p:nvPr userDrawn="1"/>
          </p:nvSpPr>
          <p:spPr>
            <a:xfrm>
              <a:off x="807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7" name="Rechthoek 28"/>
            <p:cNvSpPr/>
            <p:nvPr userDrawn="1"/>
          </p:nvSpPr>
          <p:spPr>
            <a:xfrm>
              <a:off x="899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29"/>
            <p:cNvSpPr/>
            <p:nvPr userDrawn="1"/>
          </p:nvSpPr>
          <p:spPr>
            <a:xfrm>
              <a:off x="899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9" name="Rechthoek 30"/>
            <p:cNvSpPr/>
            <p:nvPr userDrawn="1"/>
          </p:nvSpPr>
          <p:spPr>
            <a:xfrm>
              <a:off x="1000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0" name="Rechthoek 31"/>
            <p:cNvSpPr/>
            <p:nvPr userDrawn="1"/>
          </p:nvSpPr>
          <p:spPr>
            <a:xfrm>
              <a:off x="1000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hthoek 32"/>
            <p:cNvSpPr/>
            <p:nvPr userDrawn="1"/>
          </p:nvSpPr>
          <p:spPr>
            <a:xfrm>
              <a:off x="1092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2" name="Rechthoek 33"/>
            <p:cNvSpPr/>
            <p:nvPr userDrawn="1"/>
          </p:nvSpPr>
          <p:spPr>
            <a:xfrm>
              <a:off x="1092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3" name="Rechthoek 34"/>
            <p:cNvSpPr/>
            <p:nvPr userDrawn="1"/>
          </p:nvSpPr>
          <p:spPr>
            <a:xfrm>
              <a:off x="1184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4" name="Rechthoek 35"/>
            <p:cNvSpPr/>
            <p:nvPr userDrawn="1"/>
          </p:nvSpPr>
          <p:spPr>
            <a:xfrm>
              <a:off x="1184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5" name="Rechthoek 36"/>
            <p:cNvSpPr/>
            <p:nvPr userDrawn="1"/>
          </p:nvSpPr>
          <p:spPr>
            <a:xfrm>
              <a:off x="1276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Rechthoek 37"/>
            <p:cNvSpPr/>
            <p:nvPr userDrawn="1"/>
          </p:nvSpPr>
          <p:spPr>
            <a:xfrm>
              <a:off x="1276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7" name="Rechthoek 38"/>
            <p:cNvSpPr/>
            <p:nvPr userDrawn="1"/>
          </p:nvSpPr>
          <p:spPr>
            <a:xfrm>
              <a:off x="1378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8" name="Rechthoek 39"/>
            <p:cNvSpPr/>
            <p:nvPr userDrawn="1"/>
          </p:nvSpPr>
          <p:spPr>
            <a:xfrm>
              <a:off x="1378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9" name="Rechthoek 40"/>
            <p:cNvSpPr/>
            <p:nvPr userDrawn="1"/>
          </p:nvSpPr>
          <p:spPr>
            <a:xfrm>
              <a:off x="1470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0" name="Rechthoek 41"/>
            <p:cNvSpPr/>
            <p:nvPr userDrawn="1"/>
          </p:nvSpPr>
          <p:spPr>
            <a:xfrm>
              <a:off x="1470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hthoek 42"/>
            <p:cNvSpPr/>
            <p:nvPr userDrawn="1"/>
          </p:nvSpPr>
          <p:spPr>
            <a:xfrm>
              <a:off x="1569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2" name="Rechthoek 43"/>
            <p:cNvSpPr/>
            <p:nvPr userDrawn="1"/>
          </p:nvSpPr>
          <p:spPr>
            <a:xfrm>
              <a:off x="1569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Rechthoek 44"/>
            <p:cNvSpPr/>
            <p:nvPr userDrawn="1"/>
          </p:nvSpPr>
          <p:spPr>
            <a:xfrm>
              <a:off x="1661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4" name="Rechthoek 45"/>
            <p:cNvSpPr/>
            <p:nvPr userDrawn="1"/>
          </p:nvSpPr>
          <p:spPr>
            <a:xfrm>
              <a:off x="1661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Rechthoek 46"/>
            <p:cNvSpPr/>
            <p:nvPr userDrawn="1"/>
          </p:nvSpPr>
          <p:spPr>
            <a:xfrm>
              <a:off x="1762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6" name="Rechthoek 47"/>
            <p:cNvSpPr/>
            <p:nvPr userDrawn="1"/>
          </p:nvSpPr>
          <p:spPr>
            <a:xfrm>
              <a:off x="1762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Rechthoek 48"/>
            <p:cNvSpPr/>
            <p:nvPr userDrawn="1"/>
          </p:nvSpPr>
          <p:spPr>
            <a:xfrm>
              <a:off x="1854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Rechthoek 49"/>
            <p:cNvSpPr/>
            <p:nvPr userDrawn="1"/>
          </p:nvSpPr>
          <p:spPr>
            <a:xfrm>
              <a:off x="1854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9" name="Rechthoek 50"/>
            <p:cNvSpPr/>
            <p:nvPr userDrawn="1"/>
          </p:nvSpPr>
          <p:spPr>
            <a:xfrm>
              <a:off x="1946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0" name="Rechthoek 51"/>
            <p:cNvSpPr/>
            <p:nvPr userDrawn="1"/>
          </p:nvSpPr>
          <p:spPr>
            <a:xfrm>
              <a:off x="1946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1" name="Rechthoek 52"/>
            <p:cNvSpPr/>
            <p:nvPr userDrawn="1"/>
          </p:nvSpPr>
          <p:spPr>
            <a:xfrm>
              <a:off x="2038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2" name="Rechthoek 53"/>
            <p:cNvSpPr/>
            <p:nvPr userDrawn="1"/>
          </p:nvSpPr>
          <p:spPr>
            <a:xfrm>
              <a:off x="2038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3" name="Rechthoek 54"/>
            <p:cNvSpPr/>
            <p:nvPr userDrawn="1"/>
          </p:nvSpPr>
          <p:spPr>
            <a:xfrm>
              <a:off x="2140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4" name="Rechthoek 55"/>
            <p:cNvSpPr/>
            <p:nvPr userDrawn="1"/>
          </p:nvSpPr>
          <p:spPr>
            <a:xfrm>
              <a:off x="2140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5" name="Rechthoek 56"/>
            <p:cNvSpPr/>
            <p:nvPr userDrawn="1"/>
          </p:nvSpPr>
          <p:spPr>
            <a:xfrm>
              <a:off x="22326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6" name="Rechthoek 57"/>
            <p:cNvSpPr/>
            <p:nvPr userDrawn="1"/>
          </p:nvSpPr>
          <p:spPr>
            <a:xfrm>
              <a:off x="22326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7" name="Rechthoek 58"/>
            <p:cNvSpPr/>
            <p:nvPr userDrawn="1"/>
          </p:nvSpPr>
          <p:spPr>
            <a:xfrm>
              <a:off x="23310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8" name="Rechthoek 59"/>
            <p:cNvSpPr/>
            <p:nvPr userDrawn="1"/>
          </p:nvSpPr>
          <p:spPr>
            <a:xfrm>
              <a:off x="23310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69" name="Rechthoek 60"/>
            <p:cNvSpPr/>
            <p:nvPr userDrawn="1"/>
          </p:nvSpPr>
          <p:spPr>
            <a:xfrm>
              <a:off x="24231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0" name="Rechthoek 61"/>
            <p:cNvSpPr/>
            <p:nvPr userDrawn="1"/>
          </p:nvSpPr>
          <p:spPr>
            <a:xfrm>
              <a:off x="24231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1" name="Rechthoek 62"/>
            <p:cNvSpPr/>
            <p:nvPr userDrawn="1"/>
          </p:nvSpPr>
          <p:spPr>
            <a:xfrm>
              <a:off x="252471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2" name="Rechthoek 63"/>
            <p:cNvSpPr/>
            <p:nvPr userDrawn="1"/>
          </p:nvSpPr>
          <p:spPr>
            <a:xfrm>
              <a:off x="252471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3" name="Rechthoek 64"/>
            <p:cNvSpPr/>
            <p:nvPr userDrawn="1"/>
          </p:nvSpPr>
          <p:spPr>
            <a:xfrm>
              <a:off x="261679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4" name="Rechthoek 65"/>
            <p:cNvSpPr/>
            <p:nvPr userDrawn="1"/>
          </p:nvSpPr>
          <p:spPr>
            <a:xfrm>
              <a:off x="261679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5" name="Rechthoek 66"/>
            <p:cNvSpPr/>
            <p:nvPr userDrawn="1"/>
          </p:nvSpPr>
          <p:spPr>
            <a:xfrm>
              <a:off x="2708869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6" name="Rechthoek 67"/>
            <p:cNvSpPr/>
            <p:nvPr userDrawn="1"/>
          </p:nvSpPr>
          <p:spPr>
            <a:xfrm>
              <a:off x="2708869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7" name="Rechthoek 68"/>
            <p:cNvSpPr/>
            <p:nvPr userDrawn="1"/>
          </p:nvSpPr>
          <p:spPr>
            <a:xfrm>
              <a:off x="28009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8" name="Rechthoek 69"/>
            <p:cNvSpPr/>
            <p:nvPr userDrawn="1"/>
          </p:nvSpPr>
          <p:spPr>
            <a:xfrm>
              <a:off x="28009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79" name="Rechthoek 70"/>
            <p:cNvSpPr/>
            <p:nvPr userDrawn="1"/>
          </p:nvSpPr>
          <p:spPr>
            <a:xfrm>
              <a:off x="2902544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Rechthoek 71"/>
            <p:cNvSpPr/>
            <p:nvPr userDrawn="1"/>
          </p:nvSpPr>
          <p:spPr>
            <a:xfrm>
              <a:off x="2902544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Rechthoek 72"/>
            <p:cNvSpPr/>
            <p:nvPr userDrawn="1"/>
          </p:nvSpPr>
          <p:spPr>
            <a:xfrm>
              <a:off x="3000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Rechthoek 73"/>
            <p:cNvSpPr/>
            <p:nvPr userDrawn="1"/>
          </p:nvSpPr>
          <p:spPr>
            <a:xfrm>
              <a:off x="3000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3" name="Rechthoek 74"/>
            <p:cNvSpPr/>
            <p:nvPr userDrawn="1"/>
          </p:nvSpPr>
          <p:spPr>
            <a:xfrm>
              <a:off x="3095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4" name="Rechthoek 75"/>
            <p:cNvSpPr/>
            <p:nvPr userDrawn="1"/>
          </p:nvSpPr>
          <p:spPr>
            <a:xfrm>
              <a:off x="3095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5" name="Rechthoek 76"/>
            <p:cNvSpPr/>
            <p:nvPr userDrawn="1"/>
          </p:nvSpPr>
          <p:spPr>
            <a:xfrm>
              <a:off x="3187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6" name="Rechthoek 77"/>
            <p:cNvSpPr/>
            <p:nvPr userDrawn="1"/>
          </p:nvSpPr>
          <p:spPr>
            <a:xfrm>
              <a:off x="3187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7" name="Rechthoek 78"/>
            <p:cNvSpPr/>
            <p:nvPr userDrawn="1"/>
          </p:nvSpPr>
          <p:spPr>
            <a:xfrm>
              <a:off x="3288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8" name="Rechthoek 79"/>
            <p:cNvSpPr/>
            <p:nvPr userDrawn="1"/>
          </p:nvSpPr>
          <p:spPr>
            <a:xfrm>
              <a:off x="3288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9" name="Rechthoek 80"/>
            <p:cNvSpPr/>
            <p:nvPr userDrawn="1"/>
          </p:nvSpPr>
          <p:spPr>
            <a:xfrm>
              <a:off x="3381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0" name="Rechthoek 81"/>
            <p:cNvSpPr/>
            <p:nvPr userDrawn="1"/>
          </p:nvSpPr>
          <p:spPr>
            <a:xfrm>
              <a:off x="3381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1" name="Rechthoek 82"/>
            <p:cNvSpPr/>
            <p:nvPr userDrawn="1"/>
          </p:nvSpPr>
          <p:spPr>
            <a:xfrm>
              <a:off x="3473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2" name="Rechthoek 83"/>
            <p:cNvSpPr/>
            <p:nvPr userDrawn="1"/>
          </p:nvSpPr>
          <p:spPr>
            <a:xfrm>
              <a:off x="3473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3" name="Rechthoek 84"/>
            <p:cNvSpPr/>
            <p:nvPr userDrawn="1"/>
          </p:nvSpPr>
          <p:spPr>
            <a:xfrm>
              <a:off x="3565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4" name="Rechthoek 85"/>
            <p:cNvSpPr/>
            <p:nvPr userDrawn="1"/>
          </p:nvSpPr>
          <p:spPr>
            <a:xfrm>
              <a:off x="3565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5" name="Rechthoek 86"/>
            <p:cNvSpPr/>
            <p:nvPr userDrawn="1"/>
          </p:nvSpPr>
          <p:spPr>
            <a:xfrm>
              <a:off x="3666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6" name="Rechthoek 87"/>
            <p:cNvSpPr/>
            <p:nvPr userDrawn="1"/>
          </p:nvSpPr>
          <p:spPr>
            <a:xfrm>
              <a:off x="3666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7" name="Rechthoek 88"/>
            <p:cNvSpPr/>
            <p:nvPr userDrawn="1"/>
          </p:nvSpPr>
          <p:spPr>
            <a:xfrm>
              <a:off x="3758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8" name="Rechthoek 89"/>
            <p:cNvSpPr/>
            <p:nvPr userDrawn="1"/>
          </p:nvSpPr>
          <p:spPr>
            <a:xfrm>
              <a:off x="3758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9" name="Rechthoek 90"/>
            <p:cNvSpPr/>
            <p:nvPr userDrawn="1"/>
          </p:nvSpPr>
          <p:spPr>
            <a:xfrm>
              <a:off x="3857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0" name="Rechthoek 91"/>
            <p:cNvSpPr/>
            <p:nvPr userDrawn="1"/>
          </p:nvSpPr>
          <p:spPr>
            <a:xfrm>
              <a:off x="3857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1" name="Rechthoek 92"/>
            <p:cNvSpPr/>
            <p:nvPr userDrawn="1"/>
          </p:nvSpPr>
          <p:spPr>
            <a:xfrm>
              <a:off x="3949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2" name="Rechthoek 93"/>
            <p:cNvSpPr/>
            <p:nvPr userDrawn="1"/>
          </p:nvSpPr>
          <p:spPr>
            <a:xfrm>
              <a:off x="3949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3" name="Rechthoek 94"/>
            <p:cNvSpPr/>
            <p:nvPr userDrawn="1"/>
          </p:nvSpPr>
          <p:spPr>
            <a:xfrm>
              <a:off x="4050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4" name="Rechthoek 95"/>
            <p:cNvSpPr/>
            <p:nvPr userDrawn="1"/>
          </p:nvSpPr>
          <p:spPr>
            <a:xfrm>
              <a:off x="4050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5" name="Rechthoek 96"/>
            <p:cNvSpPr/>
            <p:nvPr userDrawn="1"/>
          </p:nvSpPr>
          <p:spPr>
            <a:xfrm>
              <a:off x="4143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6" name="Rechthoek 97"/>
            <p:cNvSpPr/>
            <p:nvPr userDrawn="1"/>
          </p:nvSpPr>
          <p:spPr>
            <a:xfrm>
              <a:off x="4143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Rechthoek 98"/>
            <p:cNvSpPr/>
            <p:nvPr userDrawn="1"/>
          </p:nvSpPr>
          <p:spPr>
            <a:xfrm>
              <a:off x="4235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hthoek 99"/>
            <p:cNvSpPr/>
            <p:nvPr userDrawn="1"/>
          </p:nvSpPr>
          <p:spPr>
            <a:xfrm>
              <a:off x="4235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9" name="Rechthoek 100"/>
            <p:cNvSpPr/>
            <p:nvPr userDrawn="1"/>
          </p:nvSpPr>
          <p:spPr>
            <a:xfrm>
              <a:off x="4327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0" name="Rechthoek 101"/>
            <p:cNvSpPr/>
            <p:nvPr userDrawn="1"/>
          </p:nvSpPr>
          <p:spPr>
            <a:xfrm>
              <a:off x="4327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1" name="Rechthoek 102"/>
            <p:cNvSpPr/>
            <p:nvPr userDrawn="1"/>
          </p:nvSpPr>
          <p:spPr>
            <a:xfrm>
              <a:off x="4428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2" name="Rechthoek 103"/>
            <p:cNvSpPr/>
            <p:nvPr userDrawn="1"/>
          </p:nvSpPr>
          <p:spPr>
            <a:xfrm>
              <a:off x="4428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3" name="Rechthoek 104"/>
            <p:cNvSpPr/>
            <p:nvPr userDrawn="1"/>
          </p:nvSpPr>
          <p:spPr>
            <a:xfrm>
              <a:off x="4520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4" name="Rechthoek 105"/>
            <p:cNvSpPr/>
            <p:nvPr userDrawn="1"/>
          </p:nvSpPr>
          <p:spPr>
            <a:xfrm>
              <a:off x="4520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5" name="Rechthoek 106"/>
            <p:cNvSpPr/>
            <p:nvPr userDrawn="1"/>
          </p:nvSpPr>
          <p:spPr>
            <a:xfrm>
              <a:off x="4619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6" name="Rechthoek 107"/>
            <p:cNvSpPr/>
            <p:nvPr userDrawn="1"/>
          </p:nvSpPr>
          <p:spPr>
            <a:xfrm>
              <a:off x="4619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7" name="Rechthoek 108"/>
            <p:cNvSpPr/>
            <p:nvPr userDrawn="1"/>
          </p:nvSpPr>
          <p:spPr>
            <a:xfrm>
              <a:off x="4711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8" name="Rechthoek 109"/>
            <p:cNvSpPr/>
            <p:nvPr userDrawn="1"/>
          </p:nvSpPr>
          <p:spPr>
            <a:xfrm>
              <a:off x="4711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9" name="Rechthoek 110"/>
            <p:cNvSpPr/>
            <p:nvPr userDrawn="1"/>
          </p:nvSpPr>
          <p:spPr>
            <a:xfrm>
              <a:off x="4812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0" name="Rechthoek 111"/>
            <p:cNvSpPr/>
            <p:nvPr userDrawn="1"/>
          </p:nvSpPr>
          <p:spPr>
            <a:xfrm>
              <a:off x="4812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1" name="Rechthoek 112"/>
            <p:cNvSpPr/>
            <p:nvPr userDrawn="1"/>
          </p:nvSpPr>
          <p:spPr>
            <a:xfrm>
              <a:off x="4905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2" name="Rechthoek 113"/>
            <p:cNvSpPr/>
            <p:nvPr userDrawn="1"/>
          </p:nvSpPr>
          <p:spPr>
            <a:xfrm>
              <a:off x="4905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3" name="Rechthoek 114"/>
            <p:cNvSpPr/>
            <p:nvPr userDrawn="1"/>
          </p:nvSpPr>
          <p:spPr>
            <a:xfrm>
              <a:off x="499710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4" name="Rechthoek 115"/>
            <p:cNvSpPr/>
            <p:nvPr userDrawn="1"/>
          </p:nvSpPr>
          <p:spPr>
            <a:xfrm>
              <a:off x="499710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5" name="Rechthoek 116"/>
            <p:cNvSpPr/>
            <p:nvPr userDrawn="1"/>
          </p:nvSpPr>
          <p:spPr>
            <a:xfrm>
              <a:off x="50891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6" name="Rechthoek 117"/>
            <p:cNvSpPr/>
            <p:nvPr userDrawn="1"/>
          </p:nvSpPr>
          <p:spPr>
            <a:xfrm>
              <a:off x="50891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7" name="Rechthoek 118"/>
            <p:cNvSpPr/>
            <p:nvPr userDrawn="1"/>
          </p:nvSpPr>
          <p:spPr>
            <a:xfrm>
              <a:off x="51907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8" name="Rechthoek 119"/>
            <p:cNvSpPr/>
            <p:nvPr userDrawn="1"/>
          </p:nvSpPr>
          <p:spPr>
            <a:xfrm>
              <a:off x="51907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9" name="Rechthoek 120"/>
            <p:cNvSpPr/>
            <p:nvPr userDrawn="1"/>
          </p:nvSpPr>
          <p:spPr>
            <a:xfrm>
              <a:off x="52828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0" name="Rechthoek 121"/>
            <p:cNvSpPr/>
            <p:nvPr userDrawn="1"/>
          </p:nvSpPr>
          <p:spPr>
            <a:xfrm>
              <a:off x="52828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1" name="Rechthoek 122"/>
            <p:cNvSpPr/>
            <p:nvPr userDrawn="1"/>
          </p:nvSpPr>
          <p:spPr>
            <a:xfrm>
              <a:off x="538128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2" name="Rechthoek 123"/>
            <p:cNvSpPr/>
            <p:nvPr userDrawn="1"/>
          </p:nvSpPr>
          <p:spPr>
            <a:xfrm>
              <a:off x="538128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3" name="Rechthoek 124"/>
            <p:cNvSpPr/>
            <p:nvPr userDrawn="1"/>
          </p:nvSpPr>
          <p:spPr>
            <a:xfrm>
              <a:off x="54733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4" name="Rechthoek 125"/>
            <p:cNvSpPr/>
            <p:nvPr userDrawn="1"/>
          </p:nvSpPr>
          <p:spPr>
            <a:xfrm>
              <a:off x="54733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5" name="Rechthoek 126"/>
            <p:cNvSpPr/>
            <p:nvPr userDrawn="1"/>
          </p:nvSpPr>
          <p:spPr>
            <a:xfrm>
              <a:off x="5574955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6" name="Rechthoek 127"/>
            <p:cNvSpPr/>
            <p:nvPr userDrawn="1"/>
          </p:nvSpPr>
          <p:spPr>
            <a:xfrm>
              <a:off x="5574955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7" name="Rechthoek 128"/>
            <p:cNvSpPr/>
            <p:nvPr userDrawn="1"/>
          </p:nvSpPr>
          <p:spPr>
            <a:xfrm>
              <a:off x="5667030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8" name="Rechthoek 129"/>
            <p:cNvSpPr/>
            <p:nvPr userDrawn="1"/>
          </p:nvSpPr>
          <p:spPr>
            <a:xfrm>
              <a:off x="5667030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9" name="Rechthoek 130"/>
            <p:cNvSpPr/>
            <p:nvPr userDrawn="1"/>
          </p:nvSpPr>
          <p:spPr>
            <a:xfrm>
              <a:off x="576451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0" name="Rechthoek 131"/>
            <p:cNvSpPr/>
            <p:nvPr userDrawn="1"/>
          </p:nvSpPr>
          <p:spPr>
            <a:xfrm>
              <a:off x="576451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1" name="Rechthoek 132"/>
            <p:cNvSpPr/>
            <p:nvPr userDrawn="1"/>
          </p:nvSpPr>
          <p:spPr>
            <a:xfrm>
              <a:off x="58565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2" name="Rechthoek 133"/>
            <p:cNvSpPr/>
            <p:nvPr userDrawn="1"/>
          </p:nvSpPr>
          <p:spPr>
            <a:xfrm>
              <a:off x="58565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3" name="Rechthoek 134"/>
            <p:cNvSpPr/>
            <p:nvPr userDrawn="1"/>
          </p:nvSpPr>
          <p:spPr>
            <a:xfrm>
              <a:off x="5958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4" name="Rechthoek 135"/>
            <p:cNvSpPr/>
            <p:nvPr userDrawn="1"/>
          </p:nvSpPr>
          <p:spPr>
            <a:xfrm>
              <a:off x="595819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5" name="Rechthoek 136"/>
            <p:cNvSpPr/>
            <p:nvPr userDrawn="1"/>
          </p:nvSpPr>
          <p:spPr>
            <a:xfrm>
              <a:off x="6050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6" name="Rechthoek 137"/>
            <p:cNvSpPr/>
            <p:nvPr userDrawn="1"/>
          </p:nvSpPr>
          <p:spPr>
            <a:xfrm>
              <a:off x="605026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7" name="Rechthoek 138"/>
            <p:cNvSpPr/>
            <p:nvPr userDrawn="1"/>
          </p:nvSpPr>
          <p:spPr>
            <a:xfrm>
              <a:off x="6152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8" name="Rechthoek 139"/>
            <p:cNvSpPr/>
            <p:nvPr userDrawn="1"/>
          </p:nvSpPr>
          <p:spPr>
            <a:xfrm>
              <a:off x="6152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9" name="Rechthoek 140"/>
            <p:cNvSpPr/>
            <p:nvPr userDrawn="1"/>
          </p:nvSpPr>
          <p:spPr>
            <a:xfrm>
              <a:off x="6244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0" name="Rechthoek 141"/>
            <p:cNvSpPr/>
            <p:nvPr userDrawn="1"/>
          </p:nvSpPr>
          <p:spPr>
            <a:xfrm>
              <a:off x="6244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1" name="Rechthoek 142"/>
            <p:cNvSpPr/>
            <p:nvPr userDrawn="1"/>
          </p:nvSpPr>
          <p:spPr>
            <a:xfrm>
              <a:off x="6336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Rechthoek 143"/>
            <p:cNvSpPr/>
            <p:nvPr userDrawn="1"/>
          </p:nvSpPr>
          <p:spPr>
            <a:xfrm>
              <a:off x="6336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3" name="Rechthoek 144"/>
            <p:cNvSpPr/>
            <p:nvPr userDrawn="1"/>
          </p:nvSpPr>
          <p:spPr>
            <a:xfrm>
              <a:off x="6428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4" name="Rechthoek 145"/>
            <p:cNvSpPr/>
            <p:nvPr userDrawn="1"/>
          </p:nvSpPr>
          <p:spPr>
            <a:xfrm>
              <a:off x="6428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Rechthoek 146"/>
            <p:cNvSpPr/>
            <p:nvPr userDrawn="1"/>
          </p:nvSpPr>
          <p:spPr>
            <a:xfrm>
              <a:off x="6530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6" name="Rechthoek 147"/>
            <p:cNvSpPr/>
            <p:nvPr userDrawn="1"/>
          </p:nvSpPr>
          <p:spPr>
            <a:xfrm>
              <a:off x="6530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7" name="Rechthoek 148"/>
            <p:cNvSpPr/>
            <p:nvPr userDrawn="1"/>
          </p:nvSpPr>
          <p:spPr>
            <a:xfrm>
              <a:off x="6622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8" name="Rechthoek 149"/>
            <p:cNvSpPr/>
            <p:nvPr userDrawn="1"/>
          </p:nvSpPr>
          <p:spPr>
            <a:xfrm>
              <a:off x="66220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9" name="Rechthoek 150"/>
            <p:cNvSpPr/>
            <p:nvPr userDrawn="1"/>
          </p:nvSpPr>
          <p:spPr>
            <a:xfrm>
              <a:off x="67205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0" name="Rechthoek 151"/>
            <p:cNvSpPr/>
            <p:nvPr userDrawn="1"/>
          </p:nvSpPr>
          <p:spPr>
            <a:xfrm>
              <a:off x="67205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1" name="Rechthoek 152"/>
            <p:cNvSpPr/>
            <p:nvPr userDrawn="1"/>
          </p:nvSpPr>
          <p:spPr>
            <a:xfrm>
              <a:off x="68125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2" name="Rechthoek 153"/>
            <p:cNvSpPr/>
            <p:nvPr userDrawn="1"/>
          </p:nvSpPr>
          <p:spPr>
            <a:xfrm>
              <a:off x="68125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3" name="Rechthoek 154"/>
            <p:cNvSpPr/>
            <p:nvPr userDrawn="1"/>
          </p:nvSpPr>
          <p:spPr>
            <a:xfrm>
              <a:off x="69141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4" name="Rechthoek 155"/>
            <p:cNvSpPr/>
            <p:nvPr userDrawn="1"/>
          </p:nvSpPr>
          <p:spPr>
            <a:xfrm>
              <a:off x="691418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5" name="Rechthoek 156"/>
            <p:cNvSpPr/>
            <p:nvPr userDrawn="1"/>
          </p:nvSpPr>
          <p:spPr>
            <a:xfrm>
              <a:off x="700626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6" name="Rechthoek 157"/>
            <p:cNvSpPr/>
            <p:nvPr userDrawn="1"/>
          </p:nvSpPr>
          <p:spPr>
            <a:xfrm>
              <a:off x="700626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7" name="Rechthoek 158"/>
            <p:cNvSpPr/>
            <p:nvPr userDrawn="1"/>
          </p:nvSpPr>
          <p:spPr>
            <a:xfrm>
              <a:off x="709833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8" name="Rechthoek 159"/>
            <p:cNvSpPr/>
            <p:nvPr userDrawn="1"/>
          </p:nvSpPr>
          <p:spPr>
            <a:xfrm>
              <a:off x="7098336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9" name="Rechthoek 160"/>
            <p:cNvSpPr/>
            <p:nvPr userDrawn="1"/>
          </p:nvSpPr>
          <p:spPr>
            <a:xfrm>
              <a:off x="71904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0" name="Rechthoek 161"/>
            <p:cNvSpPr/>
            <p:nvPr userDrawn="1"/>
          </p:nvSpPr>
          <p:spPr>
            <a:xfrm>
              <a:off x="71904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1" name="Rechthoek 162"/>
            <p:cNvSpPr/>
            <p:nvPr userDrawn="1"/>
          </p:nvSpPr>
          <p:spPr>
            <a:xfrm>
              <a:off x="729201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2" name="Rechthoek 163"/>
            <p:cNvSpPr/>
            <p:nvPr userDrawn="1"/>
          </p:nvSpPr>
          <p:spPr>
            <a:xfrm>
              <a:off x="7292011" y="477904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3" name="Rechthoek 164"/>
            <p:cNvSpPr/>
            <p:nvPr userDrawn="1"/>
          </p:nvSpPr>
          <p:spPr>
            <a:xfrm>
              <a:off x="738408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4" name="Rechthoek 165"/>
            <p:cNvSpPr/>
            <p:nvPr userDrawn="1"/>
          </p:nvSpPr>
          <p:spPr>
            <a:xfrm>
              <a:off x="7482191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5" name="Rechthoek 166"/>
            <p:cNvSpPr/>
            <p:nvPr userDrawn="1"/>
          </p:nvSpPr>
          <p:spPr>
            <a:xfrm>
              <a:off x="7574266" y="4671098"/>
              <a:ext cx="49549" cy="49549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80" name="Rechthoekige driehoek 8"/>
          <p:cNvSpPr/>
          <p:nvPr userDrawn="1"/>
        </p:nvSpPr>
        <p:spPr>
          <a:xfrm rot="5400000">
            <a:off x="0" y="0"/>
            <a:ext cx="726621" cy="726621"/>
          </a:xfrm>
          <a:prstGeom prst="rtTriangle">
            <a:avLst/>
          </a:prstGeom>
          <a:solidFill>
            <a:srgbClr val="86D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1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539552" y="735606"/>
            <a:ext cx="838992" cy="540000"/>
          </a:xfrm>
        </p:spPr>
        <p:txBody>
          <a:bodyPr wrap="none" t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/>
              <a:t>#a.</a:t>
            </a:r>
            <a:endParaRPr lang="en-US"/>
          </a:p>
        </p:txBody>
      </p:sp>
      <p:sp>
        <p:nvSpPr>
          <p:cNvPr id="18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1428093" y="735606"/>
            <a:ext cx="6312259" cy="540000"/>
          </a:xfrm>
        </p:spPr>
        <p:txBody>
          <a:bodyPr wrap="none" bIns="46800" anchor="t" anchorCtr="0"/>
          <a:lstStyle>
            <a:lvl1pPr marL="0" indent="0">
              <a:buNone/>
              <a:defRPr sz="32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 err="1"/>
              <a:t>Title</a:t>
            </a:r>
            <a:endParaRPr lang="en-US"/>
          </a:p>
        </p:txBody>
      </p:sp>
      <p:sp>
        <p:nvSpPr>
          <p:cNvPr id="18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740352" y="735606"/>
            <a:ext cx="936104" cy="540000"/>
          </a:xfrm>
        </p:spPr>
        <p:txBody>
          <a:bodyPr bIns="46800" anchor="t" anchorCtr="1"/>
          <a:lstStyle>
            <a:lvl1pPr marL="0" indent="0">
              <a:buNone/>
              <a:defRPr sz="3200" b="1">
                <a:latin typeface="Arial Black" panose="020B0A04020102020204" pitchFamily="34" charset="0"/>
              </a:defRPr>
            </a:lvl1pPr>
          </a:lstStyle>
          <a:p>
            <a:pPr lvl="0"/>
            <a:r>
              <a:rPr lang="nl-NL"/>
              <a:t>#/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77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194A95-4DB2-47CB-9E39-0A67FD21C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01351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" name="think-cell Slide" r:id="rId35" imgW="592" imgH="591" progId="TCLayout.ActiveDocument.1">
                  <p:embed/>
                </p:oleObj>
              </mc:Choice>
              <mc:Fallback>
                <p:oleObj name="think-cell Slide" r:id="rId3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194A95-4DB2-47CB-9E39-0A67FD21C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E393F6A-FCFB-437F-9358-2CA61995D6A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552" y="195486"/>
            <a:ext cx="8122307" cy="10801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552" y="1347614"/>
            <a:ext cx="8122307" cy="32470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36512" y="489019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489019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489019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E4257-3582-497D-9283-9892C46EFB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189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9" r:id="rId3"/>
    <p:sldLayoutId id="2147483655" r:id="rId4"/>
    <p:sldLayoutId id="2147483683" r:id="rId5"/>
    <p:sldLayoutId id="2147483656" r:id="rId6"/>
    <p:sldLayoutId id="2147483684" r:id="rId7"/>
    <p:sldLayoutId id="2147483664" r:id="rId8"/>
    <p:sldLayoutId id="2147483685" r:id="rId9"/>
    <p:sldLayoutId id="2147483671" r:id="rId10"/>
    <p:sldLayoutId id="2147483658" r:id="rId11"/>
    <p:sldLayoutId id="2147483688" r:id="rId12"/>
    <p:sldLayoutId id="2147483662" r:id="rId13"/>
    <p:sldLayoutId id="2147483689" r:id="rId14"/>
    <p:sldLayoutId id="2147483660" r:id="rId15"/>
    <p:sldLayoutId id="2147483690" r:id="rId16"/>
    <p:sldLayoutId id="2147483666" r:id="rId17"/>
    <p:sldLayoutId id="2147483691" r:id="rId18"/>
    <p:sldLayoutId id="2147483672" r:id="rId19"/>
    <p:sldLayoutId id="2147483674" r:id="rId20"/>
    <p:sldLayoutId id="2147483668" r:id="rId21"/>
    <p:sldLayoutId id="2147483692" r:id="rId22"/>
    <p:sldLayoutId id="2147483678" r:id="rId23"/>
    <p:sldLayoutId id="2147483670" r:id="rId24"/>
    <p:sldLayoutId id="2147483693" r:id="rId25"/>
    <p:sldLayoutId id="2147483694" r:id="rId26"/>
    <p:sldLayoutId id="2147483695" r:id="rId27"/>
    <p:sldLayoutId id="2147483696" r:id="rId28"/>
    <p:sldLayoutId id="2147483698" r:id="rId29"/>
    <p:sldLayoutId id="2147483706" r:id="rId3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accent2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9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9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>
            <a:extLst>
              <a:ext uri="{FF2B5EF4-FFF2-40B4-BE49-F238E27FC236}">
                <a16:creationId xmlns:a16="http://schemas.microsoft.com/office/drawing/2014/main" id="{BAF34F51-9F6D-4A5B-B354-3A1001F43764}"/>
              </a:ext>
            </a:extLst>
          </p:cNvPr>
          <p:cNvSpPr txBox="1">
            <a:spLocks/>
          </p:cNvSpPr>
          <p:nvPr/>
        </p:nvSpPr>
        <p:spPr>
          <a:xfrm>
            <a:off x="531621" y="3996116"/>
            <a:ext cx="6952544" cy="3240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endParaRPr lang="nl-NL" sz="1600" dirty="0">
              <a:latin typeface="+mj-lt"/>
            </a:endParaRPr>
          </a:p>
        </p:txBody>
      </p:sp>
      <p:sp>
        <p:nvSpPr>
          <p:cNvPr id="7" name="Rectangle 13"/>
          <p:cNvSpPr txBox="1">
            <a:spLocks noChangeArrowheads="1"/>
          </p:cNvSpPr>
          <p:nvPr/>
        </p:nvSpPr>
        <p:spPr bwMode="auto">
          <a:xfrm>
            <a:off x="425486" y="3606308"/>
            <a:ext cx="6806668" cy="91791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cap="all" baseline="0">
                <a:solidFill>
                  <a:schemeClr val="tx1"/>
                </a:solidFill>
                <a:latin typeface="Avenir Next Heavy" charset="0"/>
                <a:ea typeface="Avenir Next Heavy" charset="0"/>
                <a:cs typeface="Avenir Next Heavy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nl-NL" sz="1400" kern="0" dirty="0" smtClean="0">
                <a:solidFill>
                  <a:srgbClr val="86D2ED"/>
                </a:solidFill>
                <a:latin typeface="+mn-lt"/>
                <a:ea typeface="Arial Black" charset="0"/>
                <a:cs typeface="Arial Black" charset="0"/>
              </a:rPr>
              <a:t>Januari 2025</a:t>
            </a:r>
            <a:endParaRPr lang="nl-NL" sz="1400" kern="0" dirty="0">
              <a:solidFill>
                <a:schemeClr val="bg1">
                  <a:lumMod val="50000"/>
                </a:schemeClr>
              </a:solidFill>
              <a:latin typeface="+mn-lt"/>
              <a:ea typeface="Arial Black" charset="0"/>
              <a:cs typeface="Arial Black" charset="0"/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425486" y="2599249"/>
            <a:ext cx="13436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800" b="1" i="1" dirty="0" smtClean="0">
                <a:solidFill>
                  <a:schemeClr val="accent2"/>
                </a:solidFill>
              </a:rPr>
              <a:t>Impact</a:t>
            </a:r>
            <a:endParaRPr lang="en-US" sz="2800" b="1" i="1" dirty="0">
              <a:solidFill>
                <a:schemeClr val="accent2"/>
              </a:solidFill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531621" y="3148613"/>
            <a:ext cx="3057943" cy="369332"/>
          </a:xfrm>
          <a:prstGeom prst="rect">
            <a:avLst/>
          </a:prstGeom>
          <a:solidFill>
            <a:srgbClr val="86D2ED"/>
          </a:solidFill>
        </p:spPr>
        <p:txBody>
          <a:bodyPr wrap="square" rtlCol="0">
            <a:spAutoFit/>
          </a:bodyPr>
          <a:lstStyle/>
          <a:p>
            <a:r>
              <a:rPr lang="nl-NL" b="1" i="1" dirty="0" smtClean="0">
                <a:solidFill>
                  <a:srgbClr val="005587"/>
                </a:solidFill>
              </a:rPr>
              <a:t>Erasmus MC doelen</a:t>
            </a:r>
            <a:endParaRPr lang="en-US" b="1" i="1" dirty="0">
              <a:solidFill>
                <a:srgbClr val="005587"/>
              </a:solidFill>
            </a:endParaRP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38" y="-118659"/>
            <a:ext cx="3469701" cy="291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43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overnance</a:t>
            </a:r>
            <a:r>
              <a:rPr lang="nl-NL" dirty="0" smtClean="0"/>
              <a:t>: </a:t>
            </a:r>
            <a:r>
              <a:rPr lang="nl-NL" dirty="0" err="1" smtClean="0"/>
              <a:t>supplier</a:t>
            </a:r>
            <a:r>
              <a:rPr lang="nl-NL" dirty="0" smtClean="0"/>
              <a:t> </a:t>
            </a:r>
            <a:r>
              <a:rPr lang="nl-NL" dirty="0" err="1" smtClean="0"/>
              <a:t>governance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De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wijze waarop onze leveranciers zelf omgaan als bedrijf met de keten en eigen ‘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uppliers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’ is volgens Erasmus MC cruciaal in de verduurzaming van de ketens, en misschien nog belangrijker om de transitie te maken naar een circulaire economie. </a:t>
            </a:r>
          </a:p>
          <a:p>
            <a:pPr lvl="1"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RSD - sociaal standaarden ESRS: 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business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duct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9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81900" y="3424238"/>
            <a:ext cx="442913" cy="29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Afbeelding 13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0700" y="3430588"/>
            <a:ext cx="442913" cy="29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Afbeelding 14" descr="Vliegtuig kleurplaat | Gratis Kleurplaten printe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55375" y="3430588"/>
            <a:ext cx="442913" cy="29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3261638" y="3402013"/>
            <a:ext cx="573087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Afbeelding 16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1424900" y="3409950"/>
            <a:ext cx="573088" cy="34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Afbeelding 17" descr="Hochgeschwindigkeitszug Von China Vektor Abbildung ...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9" t="-8642"/>
          <a:stretch/>
        </p:blipFill>
        <p:spPr bwMode="auto">
          <a:xfrm>
            <a:off x="25082500" y="3402013"/>
            <a:ext cx="573088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400" y="327718"/>
            <a:ext cx="6828972" cy="483029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203E8D43-DFFE-E54D-808E-FA90D4B52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64059" y="-245645"/>
            <a:ext cx="10058391" cy="994172"/>
          </a:xfrm>
        </p:spPr>
        <p:txBody>
          <a:bodyPr/>
          <a:lstStyle/>
          <a:p>
            <a:r>
              <a:rPr lang="nl-NL" sz="2000" dirty="0" smtClean="0">
                <a:latin typeface="Arial Black" panose="020B0604020202020204" pitchFamily="34" charset="0"/>
              </a:rPr>
              <a:t>Duurzaamheid: niet alleen </a:t>
            </a:r>
            <a:r>
              <a:rPr lang="nl-NL" sz="2000" b="1" dirty="0" smtClean="0">
                <a:latin typeface="Arial Black" panose="020B0604020202020204" pitchFamily="34" charset="0"/>
              </a:rPr>
              <a:t>K</a:t>
            </a:r>
            <a:r>
              <a:rPr lang="nl-NL" sz="2000" dirty="0" smtClean="0">
                <a:latin typeface="Arial Black" panose="020B0604020202020204" pitchFamily="34" charset="0"/>
              </a:rPr>
              <a:t>limaat impact (IC analyse 2019)</a:t>
            </a:r>
            <a:endParaRPr lang="en-NL" sz="2000" dirty="0"/>
          </a:p>
        </p:txBody>
      </p:sp>
    </p:spTree>
    <p:extLst>
      <p:ext uri="{BB962C8B-B14F-4D97-AF65-F5344CB8AC3E}">
        <p14:creationId xmlns:p14="http://schemas.microsoft.com/office/powerpoint/2010/main" val="365332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7517" y="1007863"/>
            <a:ext cx="6496733" cy="371775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03E8D43-DFFE-E54D-808E-FA90D4B522C4}"/>
              </a:ext>
            </a:extLst>
          </p:cNvPr>
          <p:cNvSpPr txBox="1">
            <a:spLocks/>
          </p:cNvSpPr>
          <p:nvPr/>
        </p:nvSpPr>
        <p:spPr>
          <a:xfrm>
            <a:off x="-364058" y="-245645"/>
            <a:ext cx="9144000" cy="994172"/>
          </a:xfrm>
          <a:prstGeom prst="rect">
            <a:avLst/>
          </a:prstGeom>
        </p:spPr>
        <p:txBody>
          <a:bodyPr vert="horz" lIns="450000" tIns="288000" rIns="540000" bIns="180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nl-NL" sz="2800" b="1" dirty="0" smtClean="0">
                <a:latin typeface="Arial Black" panose="020B0604020202020204" pitchFamily="34" charset="0"/>
              </a:rPr>
              <a:t>W</a:t>
            </a:r>
            <a:r>
              <a:rPr lang="nl-NL" sz="2800" dirty="0" smtClean="0">
                <a:latin typeface="Arial Black" panose="020B0604020202020204" pitchFamily="34" charset="0"/>
              </a:rPr>
              <a:t>aardebehoud doel: hoog op de R-ladder</a:t>
            </a:r>
            <a:endParaRPr lang="en-NL" sz="2800" dirty="0"/>
          </a:p>
        </p:txBody>
      </p:sp>
    </p:spTree>
    <p:extLst>
      <p:ext uri="{BB962C8B-B14F-4D97-AF65-F5344CB8AC3E}">
        <p14:creationId xmlns:p14="http://schemas.microsoft.com/office/powerpoint/2010/main" val="906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 ladder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53674" y="1094951"/>
            <a:ext cx="8682822" cy="3699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Weiger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fu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stoppen (want heeft geen aantoonbare waarde)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limmer gebruik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think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esign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meer gebruik maken en/of verander hoe het product wordt gebruikt (om volume te verlagen)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erlagen (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uc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: beloon firma’s die materiaal efficiënter zijn in producten en/of gebruik en/of 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oL</a:t>
            </a: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u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gebruik): zet in op maximaal hergebruik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air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repareer): repareer zo lang mogelijk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furbish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nieuwen): oplappen!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manufactur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her-produceer), 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rocessing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met name single-</a:t>
            </a: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use</a:t>
            </a: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purpose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geef onderdelen van een product een functie in een ander product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Recycle: ontmantel product en ontsluit materialen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nl-NL" sz="12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cover</a:t>
            </a:r>
            <a:r>
              <a:rPr lang="nl-NL" sz="12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: verbranding met energie behou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46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38" y="-118659"/>
            <a:ext cx="3469701" cy="2910601"/>
          </a:xfrm>
          <a:prstGeom prst="rect">
            <a:avLst/>
          </a:prstGeom>
        </p:spPr>
      </p:pic>
      <p:sp>
        <p:nvSpPr>
          <p:cNvPr id="8" name="Tekstvak 2">
            <a:extLst>
              <a:ext uri="{FF2B5EF4-FFF2-40B4-BE49-F238E27FC236}">
                <a16:creationId xmlns:a16="http://schemas.microsoft.com/office/drawing/2014/main" id="{9131444A-FE80-1D4A-A05C-DF0C8D412CE0}"/>
              </a:ext>
            </a:extLst>
          </p:cNvPr>
          <p:cNvSpPr txBox="1"/>
          <p:nvPr/>
        </p:nvSpPr>
        <p:spPr bwMode="auto">
          <a:xfrm>
            <a:off x="558603" y="2791942"/>
            <a:ext cx="5040560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00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en duurzaam Erasmus MC:</a:t>
            </a:r>
          </a:p>
          <a:p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raagt bij aan:   	een gezonde samenleving</a:t>
            </a:r>
          </a:p>
          <a:p>
            <a:pPr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	een schoner milieu en beter klimaat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taat voor: 	een duurzame gezondheidszorg</a:t>
            </a:r>
          </a:p>
          <a:p>
            <a:pPr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	gelijke kansen en ontwikkelingsmogelijkheden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indent="-171446">
              <a:buFontTx/>
              <a:buChar char="-"/>
              <a:tabLst>
                <a:tab pos="1344580" algn="l"/>
              </a:tabLst>
            </a:pPr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aat voor:     	een circulaire bedrijfsvoering</a:t>
            </a:r>
          </a:p>
          <a:p>
            <a:pPr indent="-171446">
              <a:buFontTx/>
              <a:buChar char="-"/>
            </a:pPr>
            <a:endParaRPr lang="nl-NL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r>
              <a:rPr lang="nl-NL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at doen wij door en voor alle medewerkers en studenten</a:t>
            </a:r>
            <a:endParaRPr lang="en-US" sz="11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92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Verduurzamen: wat is dat?</a:t>
            </a:r>
            <a:endParaRPr lang="nl-NL" dirty="0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53674" y="1023985"/>
            <a:ext cx="8682822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UN / '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Our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Common </a:t>
            </a:r>
            <a:r>
              <a:rPr lang="nl-NL" sz="14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uture</a:t>
            </a:r>
            <a:r>
              <a:rPr lang="nl-NL" sz="14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' 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(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Brundlandt</a:t>
            </a: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report, 1987): </a:t>
            </a: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“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“..meeting 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the needs of the present without compromising the ability of future generations to meet their own 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needs</a:t>
            </a: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”</a:t>
            </a: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84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err="1" smtClean="0"/>
              <a:t>SDG’s</a:t>
            </a:r>
            <a:r>
              <a:rPr lang="nl-NL" dirty="0" smtClean="0"/>
              <a:t> in relatie met de </a:t>
            </a:r>
            <a:r>
              <a:rPr lang="nl-NL" dirty="0" err="1" smtClean="0"/>
              <a:t>ESG’s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321017" y="1007863"/>
            <a:ext cx="8682822" cy="4085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Erasmus MC geeft prioriteit aan de volgende </a:t>
            </a:r>
            <a:r>
              <a:rPr lang="nl-NL" sz="1400" b="1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’s</a:t>
            </a: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3  : goede gezondheid en welzijn (valt onder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4  :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klimaatonderwijs (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0: ongelijkheid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erminderen (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2: verantwoorde consumptie en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productie (valt onder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en </a:t>
            </a:r>
            <a:r>
              <a:rPr lang="nl-NL" sz="1300" b="1" i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kern="0" dirty="0" err="1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DG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 13: klimaatactie (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valt onder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, en </a:t>
            </a:r>
            <a:r>
              <a:rPr lang="nl-NL" sz="1300" b="1" i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SG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>
              <a:lnSpc>
                <a:spcPct val="150000"/>
              </a:lnSpc>
            </a:pPr>
            <a:endParaRPr lang="nl-NL" sz="1400" b="1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>
              <a:lnSpc>
                <a:spcPct val="150000"/>
              </a:lnSpc>
            </a:pPr>
            <a:r>
              <a:rPr lang="nl-NL" sz="14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Ondertekening van verschillende deals waar onder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reendeal 3.0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 “Groene 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n </a:t>
            </a:r>
            <a:r>
              <a:rPr lang="nl-NL" sz="13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limaatneutrale</a:t>
            </a:r>
            <a:r>
              <a:rPr lang="nl-NL" sz="13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zorg” met minimale impact op klimaat, milieu en leefomgeving, geleverd met oog voor spaarzaam en circulair gebruik van grondstoffen en 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material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ZES: 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Zero Emissie Stadslogistiek (gemeente Rotterdam) voor leveranciers van het Erasmus MC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nl-NL" sz="13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oede Zorg Proef Je</a:t>
            </a:r>
            <a:r>
              <a:rPr lang="nl-NL" sz="13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: versnelde implementatie van het Nationaal Preventieakkoord.</a:t>
            </a:r>
            <a:endParaRPr lang="nl-NL" sz="13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4387" y="1007863"/>
            <a:ext cx="2619613" cy="1327271"/>
          </a:xfrm>
          <a:prstGeom prst="rect">
            <a:avLst/>
          </a:prstGeom>
        </p:spPr>
      </p:pic>
      <p:sp>
        <p:nvSpPr>
          <p:cNvPr id="4" name="AutoShape 2" descr="https://euc-powerpoint.officeapps.live.com/pods/GetClipboardImage.ashx?Id=92640334-d90c-4177-917a-36d1f8975819&amp;DC=GEU6&amp;pkey=858f9d9e-06d0-4e98-95df-21425990aae5&amp;wdwaccluster=GEU6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8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 5"/>
          <p:cNvGraphicFramePr>
            <a:graphicFrameLocks noGrp="1"/>
          </p:cNvGraphicFramePr>
          <p:nvPr>
            <p:extLst/>
          </p:nvPr>
        </p:nvGraphicFramePr>
        <p:xfrm>
          <a:off x="0" y="762000"/>
          <a:ext cx="9144000" cy="4291003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144000">
                  <a:extLst>
                    <a:ext uri="{9D8B030D-6E8A-4147-A177-3AD203B41FA5}">
                      <a16:colId xmlns:a16="http://schemas.microsoft.com/office/drawing/2014/main" val="3892639493"/>
                    </a:ext>
                  </a:extLst>
                </a:gridCol>
              </a:tblGrid>
              <a:tr h="1041642">
                <a:tc>
                  <a:txBody>
                    <a:bodyPr/>
                    <a:lstStyle/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l-NL" sz="1600" b="1" dirty="0" smtClean="0">
                          <a:solidFill>
                            <a:srgbClr val="0C2074"/>
                          </a:solidFill>
                        </a:rPr>
                        <a:t>K</a:t>
                      </a:r>
                      <a:r>
                        <a:rPr lang="nl-NL" sz="1600" b="1" baseline="0" dirty="0" smtClean="0">
                          <a:solidFill>
                            <a:srgbClr val="0C2074"/>
                          </a:solidFill>
                        </a:rPr>
                        <a:t> – Kwaliteit:</a:t>
                      </a:r>
                      <a:r>
                        <a:rPr lang="nl-NL" sz="1400" b="1" baseline="0" dirty="0" smtClean="0">
                          <a:solidFill>
                            <a:srgbClr val="0C2074"/>
                          </a:solidFill>
                        </a:rPr>
                        <a:t> </a:t>
                      </a: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400" b="1" baseline="0" dirty="0" smtClean="0">
                        <a:solidFill>
                          <a:srgbClr val="0C2074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385666"/>
                  </a:ext>
                </a:extLst>
              </a:tr>
              <a:tr h="719521">
                <a:tc>
                  <a:txBody>
                    <a:bodyPr/>
                    <a:lstStyle/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l-NL" sz="1600" b="1" kern="120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P </a:t>
                      </a:r>
                      <a:r>
                        <a:rPr lang="nl-NL" sz="1600" b="1" kern="1200" baseline="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– Prijs:</a:t>
                      </a:r>
                      <a:r>
                        <a:rPr lang="nl-NL" sz="1600" b="1" kern="1200" baseline="0" dirty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nl-NL" sz="1600" b="1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966207"/>
                  </a:ext>
                </a:extLst>
              </a:tr>
              <a:tr h="2470179">
                <a:tc>
                  <a:txBody>
                    <a:bodyPr/>
                    <a:lstStyle/>
                    <a:p>
                      <a:pPr marL="3556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600" b="1" kern="1200" dirty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D – Duurzaamheid</a:t>
                      </a:r>
                      <a:r>
                        <a:rPr lang="nl-NL" sz="1600" b="1" kern="1200" baseline="0" dirty="0" smtClean="0">
                          <a:solidFill>
                            <a:srgbClr val="0C2074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endParaRPr lang="nl-NL" sz="16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 smtClean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560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l-NL" sz="1200" b="0" kern="1200" dirty="0">
                        <a:solidFill>
                          <a:srgbClr val="0C20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085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3691"/>
            <a:ext cx="9144000" cy="658662"/>
          </a:xfrm>
        </p:spPr>
        <p:txBody>
          <a:bodyPr>
            <a:normAutofit fontScale="90000"/>
          </a:bodyPr>
          <a:lstStyle/>
          <a:p>
            <a:r>
              <a:rPr lang="nl-NL" sz="2400" dirty="0"/>
              <a:t>Positieve impact met de inkoopfunctie</a:t>
            </a:r>
            <a:endParaRPr lang="nl-NL" sz="2400" dirty="0"/>
          </a:p>
        </p:txBody>
      </p:sp>
      <p:sp>
        <p:nvSpPr>
          <p:cNvPr id="4" name="Tekstvak 3"/>
          <p:cNvSpPr txBox="1"/>
          <p:nvPr/>
        </p:nvSpPr>
        <p:spPr>
          <a:xfrm>
            <a:off x="459065" y="2862083"/>
            <a:ext cx="8145185" cy="2000548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 lvl="0"/>
            <a:r>
              <a:rPr lang="nl-NL" sz="1100" dirty="0">
                <a:solidFill>
                  <a:srgbClr val="0C2074"/>
                </a:solidFill>
              </a:rPr>
              <a:t>De </a:t>
            </a:r>
            <a:r>
              <a:rPr lang="nl-NL" sz="1100" dirty="0" smtClean="0">
                <a:solidFill>
                  <a:srgbClr val="0C2074"/>
                </a:solidFill>
              </a:rPr>
              <a:t>mate waarin de oplossing en leverancier bijdraagt aan verduurzaming lokaal (Erasmus MC) en in de keten op:</a:t>
            </a:r>
            <a:endParaRPr lang="nl-NL" sz="1100" b="1" dirty="0">
              <a:solidFill>
                <a:srgbClr val="0C2074"/>
              </a:solidFill>
            </a:endParaRPr>
          </a:p>
          <a:p>
            <a:pPr marL="355600">
              <a:defRPr/>
            </a:pPr>
            <a:endParaRPr lang="nl-NL" sz="1100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ENVIRONMENT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K – Klimaat: </a:t>
            </a:r>
            <a:r>
              <a:rPr lang="nl-NL" sz="1000" dirty="0">
                <a:solidFill>
                  <a:srgbClr val="0C2074"/>
                </a:solidFill>
              </a:rPr>
              <a:t>CO2 reductie (equivalenten: ethaan, </a:t>
            </a:r>
            <a:r>
              <a:rPr lang="nl-NL" sz="1000" dirty="0" err="1">
                <a:solidFill>
                  <a:srgbClr val="0C2074"/>
                </a:solidFill>
              </a:rPr>
              <a:t>NOx</a:t>
            </a:r>
            <a:r>
              <a:rPr lang="nl-NL" sz="1000" dirty="0">
                <a:solidFill>
                  <a:srgbClr val="0C2074"/>
                </a:solidFill>
              </a:rPr>
              <a:t>, et cetera)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M – Milieu: </a:t>
            </a:r>
            <a:r>
              <a:rPr lang="nl-NL" sz="1000" dirty="0">
                <a:solidFill>
                  <a:srgbClr val="0C2074"/>
                </a:solidFill>
              </a:rPr>
              <a:t>impact op land, water, biodiversiteit, en toxiciteit (ozon, aerosol, verzuring, et cetera) 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W – Waardebehoud: </a:t>
            </a:r>
            <a:r>
              <a:rPr lang="nl-NL" sz="1000" dirty="0">
                <a:solidFill>
                  <a:srgbClr val="0C2074"/>
                </a:solidFill>
              </a:rPr>
              <a:t>primair gericht op behoud van (technische) grondstoffen (productie, gebruik, afval, et cetera)</a:t>
            </a:r>
          </a:p>
          <a:p>
            <a:pPr marL="355600">
              <a:defRPr/>
            </a:pPr>
            <a:endParaRPr lang="en-US" sz="1000" i="1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SOCIAL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S – Sociaaleconomisch: </a:t>
            </a:r>
            <a:r>
              <a:rPr lang="nl-NL" sz="1000" dirty="0">
                <a:solidFill>
                  <a:srgbClr val="0C2074"/>
                </a:solidFill>
              </a:rPr>
              <a:t>negatieve impact </a:t>
            </a:r>
            <a:r>
              <a:rPr lang="nl-NL" sz="1000" dirty="0" smtClean="0">
                <a:solidFill>
                  <a:srgbClr val="0C2074"/>
                </a:solidFill>
              </a:rPr>
              <a:t>als mensenrechten schendingen en positieve </a:t>
            </a:r>
            <a:r>
              <a:rPr lang="nl-NL" sz="1000" dirty="0">
                <a:solidFill>
                  <a:srgbClr val="0C2074"/>
                </a:solidFill>
              </a:rPr>
              <a:t>als (lokale) werkgelegenheid</a:t>
            </a:r>
          </a:p>
          <a:p>
            <a:pPr marL="355600">
              <a:defRPr/>
            </a:pPr>
            <a:endParaRPr lang="nl-NL" sz="1000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b="1" dirty="0">
                <a:solidFill>
                  <a:srgbClr val="0C2074"/>
                </a:solidFill>
              </a:rPr>
              <a:t>GOVERNANCE:</a:t>
            </a:r>
          </a:p>
          <a:p>
            <a:pPr marL="355600">
              <a:defRPr/>
            </a:pPr>
            <a:r>
              <a:rPr lang="nl-NL" sz="1000" i="1" dirty="0">
                <a:solidFill>
                  <a:srgbClr val="0C2074"/>
                </a:solidFill>
              </a:rPr>
              <a:t>GS – </a:t>
            </a:r>
            <a:r>
              <a:rPr lang="nl-NL" sz="1000" i="1" dirty="0" err="1" smtClean="0">
                <a:solidFill>
                  <a:srgbClr val="0C2074"/>
                </a:solidFill>
              </a:rPr>
              <a:t>Governance</a:t>
            </a:r>
            <a:r>
              <a:rPr lang="nl-NL" sz="1000" i="1" dirty="0" smtClean="0">
                <a:solidFill>
                  <a:srgbClr val="0C2074"/>
                </a:solidFill>
              </a:rPr>
              <a:t> Suppliers: </a:t>
            </a:r>
            <a:r>
              <a:rPr lang="nl-NL" sz="1000" dirty="0">
                <a:solidFill>
                  <a:srgbClr val="0C2074"/>
                </a:solidFill>
              </a:rPr>
              <a:t>verduurzaming in eigen bedrijfsvoering en eigen </a:t>
            </a:r>
            <a:r>
              <a:rPr lang="nl-NL" sz="1000" dirty="0" smtClean="0">
                <a:solidFill>
                  <a:srgbClr val="0C2074"/>
                </a:solidFill>
              </a:rPr>
              <a:t>leveranciers / </a:t>
            </a:r>
            <a:r>
              <a:rPr lang="nl-NL" sz="1000" dirty="0" err="1" smtClean="0">
                <a:solidFill>
                  <a:srgbClr val="0C2074"/>
                </a:solidFill>
              </a:rPr>
              <a:t>suppliers</a:t>
            </a:r>
            <a:endParaRPr lang="nl-NL" sz="1000" dirty="0">
              <a:solidFill>
                <a:srgbClr val="0C2074"/>
              </a:solidFill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457200" y="2133647"/>
            <a:ext cx="8147049" cy="261610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 lvl="0"/>
            <a:r>
              <a:rPr lang="nl-NL" sz="1100" dirty="0" smtClean="0">
                <a:solidFill>
                  <a:srgbClr val="0C2074"/>
                </a:solidFill>
              </a:rPr>
              <a:t>De financiële </a:t>
            </a:r>
            <a:r>
              <a:rPr lang="nl-NL" sz="1100" dirty="0">
                <a:solidFill>
                  <a:srgbClr val="0C2074"/>
                </a:solidFill>
              </a:rPr>
              <a:t>haalbaarheid </a:t>
            </a:r>
            <a:r>
              <a:rPr lang="nl-NL" sz="1100" dirty="0" smtClean="0">
                <a:solidFill>
                  <a:srgbClr val="0C2074"/>
                </a:solidFill>
              </a:rPr>
              <a:t>van de oplossing gedurende de gehele (levens-) duur van gebruik</a:t>
            </a:r>
            <a:endParaRPr lang="nl-NL" sz="1100" dirty="0">
              <a:solidFill>
                <a:srgbClr val="0C2074"/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457201" y="1085758"/>
            <a:ext cx="8147049" cy="600164"/>
          </a:xfrm>
          <a:prstGeom prst="rect">
            <a:avLst/>
          </a:prstGeom>
          <a:solidFill>
            <a:srgbClr val="D9D9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55600">
              <a:defRPr/>
            </a:pPr>
            <a:r>
              <a:rPr lang="nl-NL" sz="1100" dirty="0">
                <a:solidFill>
                  <a:srgbClr val="0C2074"/>
                </a:solidFill>
              </a:rPr>
              <a:t>De mate waarin de oplossing bijdraagt aan het realiseren van </a:t>
            </a:r>
            <a:r>
              <a:rPr lang="nl-NL" sz="1100" dirty="0" smtClean="0">
                <a:solidFill>
                  <a:srgbClr val="0C2074"/>
                </a:solidFill>
              </a:rPr>
              <a:t>doelen </a:t>
            </a:r>
            <a:r>
              <a:rPr lang="nl-NL" sz="1100" dirty="0">
                <a:solidFill>
                  <a:srgbClr val="0C2074"/>
                </a:solidFill>
              </a:rPr>
              <a:t>in </a:t>
            </a:r>
            <a:r>
              <a:rPr lang="nl-NL" sz="1100" i="1" dirty="0">
                <a:solidFill>
                  <a:srgbClr val="0C2074"/>
                </a:solidFill>
              </a:rPr>
              <a:t>zorg, onderzoek, onderwijs en </a:t>
            </a:r>
            <a:r>
              <a:rPr lang="nl-NL" sz="1100" i="1" dirty="0" smtClean="0">
                <a:solidFill>
                  <a:srgbClr val="0C2074"/>
                </a:solidFill>
              </a:rPr>
              <a:t>valorisatie </a:t>
            </a:r>
            <a:endParaRPr lang="nl-NL" sz="1100" i="1" dirty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dirty="0" smtClean="0">
                <a:solidFill>
                  <a:srgbClr val="0C2074"/>
                </a:solidFill>
              </a:rPr>
              <a:t>De </a:t>
            </a:r>
            <a:r>
              <a:rPr lang="nl-NL" sz="1100" dirty="0">
                <a:solidFill>
                  <a:srgbClr val="0C2074"/>
                </a:solidFill>
              </a:rPr>
              <a:t>mate waarin de oplossing bijdraagt aan het realiseren van doelen </a:t>
            </a:r>
            <a:r>
              <a:rPr lang="nl-NL" sz="1100" dirty="0" smtClean="0">
                <a:solidFill>
                  <a:srgbClr val="0C2074"/>
                </a:solidFill>
              </a:rPr>
              <a:t>voor </a:t>
            </a:r>
            <a:r>
              <a:rPr lang="nl-NL" sz="1100" i="1" dirty="0" smtClean="0">
                <a:solidFill>
                  <a:srgbClr val="0C2074"/>
                </a:solidFill>
              </a:rPr>
              <a:t>bedrijfsvoering</a:t>
            </a:r>
            <a:endParaRPr lang="nl-NL" sz="1100" i="1" dirty="0" smtClean="0">
              <a:solidFill>
                <a:srgbClr val="0C2074"/>
              </a:solidFill>
            </a:endParaRPr>
          </a:p>
          <a:p>
            <a:pPr marL="355600">
              <a:defRPr/>
            </a:pPr>
            <a:r>
              <a:rPr lang="nl-NL" sz="1100" dirty="0" smtClean="0">
                <a:solidFill>
                  <a:srgbClr val="0C2074"/>
                </a:solidFill>
              </a:rPr>
              <a:t>De </a:t>
            </a:r>
            <a:r>
              <a:rPr lang="nl-NL" sz="1100" i="1" dirty="0">
                <a:solidFill>
                  <a:srgbClr val="0C2074"/>
                </a:solidFill>
              </a:rPr>
              <a:t>leverbetrouwbaarheid / - zekerheid </a:t>
            </a:r>
            <a:r>
              <a:rPr lang="nl-NL" sz="1100" dirty="0">
                <a:solidFill>
                  <a:srgbClr val="0C2074"/>
                </a:solidFill>
              </a:rPr>
              <a:t>van de </a:t>
            </a:r>
            <a:r>
              <a:rPr lang="nl-NL" sz="1100" dirty="0" smtClean="0">
                <a:solidFill>
                  <a:srgbClr val="0C2074"/>
                </a:solidFill>
              </a:rPr>
              <a:t>oplossing</a:t>
            </a:r>
            <a:r>
              <a:rPr lang="nl-NL" sz="1100" dirty="0">
                <a:solidFill>
                  <a:srgbClr val="0C2074"/>
                </a:solidFill>
              </a:rPr>
              <a:t> </a:t>
            </a:r>
            <a:r>
              <a:rPr lang="nl-NL" sz="1100" dirty="0" smtClean="0">
                <a:solidFill>
                  <a:srgbClr val="0C2074"/>
                </a:solidFill>
              </a:rPr>
              <a:t>op korte en langere termijn</a:t>
            </a:r>
          </a:p>
        </p:txBody>
      </p:sp>
    </p:spTree>
    <p:extLst>
      <p:ext uri="{BB962C8B-B14F-4D97-AF65-F5344CB8AC3E}">
        <p14:creationId xmlns:p14="http://schemas.microsoft.com/office/powerpoint/2010/main" val="776734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- klimaat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36184" y="1007656"/>
            <a:ext cx="8682822" cy="433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at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hier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om de mate van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reductie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de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limaat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mpact in de supply chain (sourcing,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ie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transport, en packaging): CO2 impact of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quivalenten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NOx etc</a:t>
            </a:r>
            <a:r>
              <a:rPr lang="en-US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.). Meer </a:t>
            </a:r>
            <a:r>
              <a:rPr lang="en-US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pecifiek</a:t>
            </a:r>
            <a:r>
              <a:rPr lang="en-US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mpact conform CSRD - environmental (topical) standard ESRS E1: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climate change </a:t>
            </a: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mitigatie</a:t>
            </a: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daptie</a:t>
            </a:r>
            <a:r>
              <a:rPr lang="en-US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en-US" sz="12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en-US" sz="11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a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pecifie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om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l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‘cradle-to-door’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ossie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brandstoff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transport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lektriciteitsver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ustrië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ass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landge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verandering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 d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(en assemblage) van complet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produc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plus het transport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naar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de (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nd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er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Accounting/reportag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technisch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mva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het Scope 1 ("intern"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ui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activitei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gendom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trol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, Scope 2 ("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" 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koop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erg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n/of Scope 3 ("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waardeke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supply chain" /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direct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missie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;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niet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i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igendom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/control maar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zgnd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"up" en "downstream" van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rganisati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keten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,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xclusief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de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gebruiks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- en “end of life” </a:t>
            </a:r>
            <a:r>
              <a:rPr lang="en-US" sz="11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fase</a:t>
            </a:r>
            <a:r>
              <a:rPr lang="en-US" sz="11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. </a:t>
            </a: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54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- milieu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Het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gaat hier om de mate waarin goederen, diensten en werken impact hebben op land, water, biodiversiteit, en toxiciteit (ozon, aerosol, verzuring, biosfeer, eutrofiëring, zoet water en  zuurstofradicalen). </a:t>
            </a: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Meer 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specifiek impact conform CSRD -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vironmental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standaarden ESRS: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2 (vervuiling): vervuiling van lucht, water en grond; vervuiling van levende organismen en voedselbronnen; zeer gevaarlijke stoffen (SVHC); microplastics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3 (water &amp; zee resources): gebruik van water, withdrawal, discharge, discharge in zee, gebruik en withdrawal zee-resource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4 (biodiversiteit &amp; ecosystemen): direct oorzaken voor verlies biodiversiteit; impact op soorten; mate van impact op ecosystemen en conditie daarvan; impact op en afhankelijkheden van ecosysteem diensten</a:t>
            </a:r>
          </a:p>
          <a:p>
            <a:pPr lvl="1">
              <a:lnSpc>
                <a:spcPct val="150000"/>
              </a:lnSpc>
            </a:pPr>
            <a:endParaRPr lang="en-US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73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vironment – </a:t>
            </a:r>
            <a:r>
              <a:rPr lang="nl-NL" dirty="0" err="1" smtClean="0"/>
              <a:t>waardebehoud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Dit gaat primair om de mate van behoud van waarde van (technische) grondstoffen. </a:t>
            </a:r>
          </a:p>
          <a:p>
            <a:pPr lvl="1">
              <a:lnSpc>
                <a:spcPct val="150000"/>
              </a:lnSpc>
            </a:pPr>
            <a:endParaRPr lang="nl-NL" sz="14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SRD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environmental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topic standaard ESRS: </a:t>
            </a: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E5 (resource gebruik en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ircularie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economie):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instroom/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inflow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resources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uitstroom/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outflow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gerelateerd aan producten/diensten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afval</a:t>
            </a:r>
          </a:p>
          <a:p>
            <a:pPr lvl="1">
              <a:lnSpc>
                <a:spcPct val="150000"/>
              </a:lnSpc>
            </a:pPr>
            <a:endParaRPr lang="nl-NL" sz="1400" b="1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en-US" sz="10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nl-NL" sz="10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endParaRPr lang="nl-NL" sz="1400" kern="0" dirty="0" smtClean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ociaal: </a:t>
            </a:r>
            <a:r>
              <a:rPr lang="nl-NL" dirty="0" err="1" smtClean="0"/>
              <a:t>sociaal-economisch</a:t>
            </a:r>
            <a:endParaRPr lang="nl-NL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5274502-EDB9-5B44-874F-8F10ABBC6A22}"/>
              </a:ext>
            </a:extLst>
          </p:cNvPr>
          <p:cNvSpPr txBox="1"/>
          <p:nvPr/>
        </p:nvSpPr>
        <p:spPr bwMode="auto">
          <a:xfrm>
            <a:off x="-123094" y="980556"/>
            <a:ext cx="868282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D1F7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44000" tIns="45720" rIns="21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Primair gaat het hier om het opsporen, voorkomen en uitbannen van mensenrechten schendingen en ongeoorloofde bedrijfspraktijken in de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supply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</a:t>
            </a:r>
            <a:r>
              <a:rPr lang="nl-NL" sz="1400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hains</a:t>
            </a: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van producten. Het omvat ook positieve dimensies als (lokale) werkgelegenheid. 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  <a:p>
            <a:pPr lvl="1">
              <a:lnSpc>
                <a:spcPct val="150000"/>
              </a:lnSpc>
            </a:pPr>
            <a:r>
              <a:rPr lang="nl-NL" sz="1400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Meer specifiek impact conform CRSD - sociaal standaarden ESRS:  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eigen werknemer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2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werknemers in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value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 chain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3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mmunities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S4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consumenten en/of eind gebruikers)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200" b="1" kern="0" dirty="0" smtClean="0">
                <a:solidFill>
                  <a:srgbClr val="0C2074"/>
                </a:solidFill>
                <a:ea typeface="Arial Black" charset="0"/>
                <a:cs typeface="Arial Black" charset="0"/>
              </a:rPr>
              <a:t>G1 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(business </a:t>
            </a:r>
            <a:r>
              <a:rPr lang="nl-NL" sz="1200" b="1" kern="0" dirty="0" err="1">
                <a:solidFill>
                  <a:srgbClr val="0C2074"/>
                </a:solidFill>
                <a:ea typeface="Arial Black" charset="0"/>
                <a:cs typeface="Arial Black" charset="0"/>
              </a:rPr>
              <a:t>conduct</a:t>
            </a:r>
            <a:r>
              <a:rPr lang="nl-NL" sz="1200" b="1" kern="0" dirty="0">
                <a:solidFill>
                  <a:srgbClr val="0C2074"/>
                </a:solidFill>
                <a:ea typeface="Arial Black" charset="0"/>
                <a:cs typeface="Arial Black" charset="0"/>
              </a:rPr>
              <a:t>)</a:t>
            </a:r>
          </a:p>
          <a:p>
            <a:pPr lvl="1">
              <a:lnSpc>
                <a:spcPct val="150000"/>
              </a:lnSpc>
            </a:pPr>
            <a:endParaRPr lang="nl-NL" sz="1200" kern="0" dirty="0">
              <a:solidFill>
                <a:srgbClr val="0C2074"/>
              </a:solidFill>
              <a:ea typeface="Arial Black" charset="0"/>
              <a:cs typeface="Ari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950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3.09509999999999996234E+00&quot;&gt;&lt;m_msothmcolidx val=&quot;0&quot;/&gt;&lt;m_rgb r=&quot;A6&quot; g=&quot;A6&quot; b=&quot;A6&quot;/&gt;&lt;m_nBrightness endver=&quot;26206&quot; val=&quot;0&quot;/&gt;&lt;/elem&gt;&lt;elem m_fUsage=&quot;2.41811559900000050405E+00&quot;&gt;&lt;m_msothmcolidx val=&quot;0&quot;/&gt;&lt;m_rgb r=&quot;83&quot; g=&quot;9E&quot; b=&quot;A9&quot;/&gt;&lt;m_nBrightness endver=&quot;26206&quot; val=&quot;0&quot;/&gt;&lt;/elem&gt;&lt;elem m_fUsage=&quot;1.00000000000000000000E+00&quot;&gt;&lt;m_msothmcolidx val=&quot;0&quot;/&gt;&lt;m_rgb r=&quot;FF&quot; g=&quot;E8&quot; b=&quot;8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xr1MM_fPJTSNe2SrDZEw"/>
</p:tagLst>
</file>

<file path=ppt/theme/theme1.xml><?xml version="1.0" encoding="utf-8"?>
<a:theme xmlns:a="http://schemas.openxmlformats.org/drawingml/2006/main" name="Office Theme">
  <a:themeElements>
    <a:clrScheme name="Erasmus MC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6D2ED"/>
      </a:accent1>
      <a:accent2>
        <a:srgbClr val="0C2074"/>
      </a:accent2>
      <a:accent3>
        <a:srgbClr val="F1B02F"/>
      </a:accent3>
      <a:accent4>
        <a:srgbClr val="EB0A35"/>
      </a:accent4>
      <a:accent5>
        <a:srgbClr val="00AE42"/>
      </a:accent5>
      <a:accent6>
        <a:srgbClr val="D8D8D8"/>
      </a:accent6>
      <a:hlink>
        <a:srgbClr val="0C2074"/>
      </a:hlink>
      <a:folHlink>
        <a:srgbClr val="0C207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cc622b6-52b1-46d4-b602-ddee715b9c52" xsi:nil="true"/>
    <lcf76f155ced4ddcb4097134ff3c332f xmlns="9046b1a9-7a74-4074-b9ae-812fd4e652d5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6D28A44ED8C7429D65F9E1AB9C034D" ma:contentTypeVersion="13" ma:contentTypeDescription="Een nieuw document maken." ma:contentTypeScope="" ma:versionID="6e58539356d8981133656fe3017b7e35">
  <xsd:schema xmlns:xsd="http://www.w3.org/2001/XMLSchema" xmlns:xs="http://www.w3.org/2001/XMLSchema" xmlns:p="http://schemas.microsoft.com/office/2006/metadata/properties" xmlns:ns2="9046b1a9-7a74-4074-b9ae-812fd4e652d5" xmlns:ns3="0cc622b6-52b1-46d4-b602-ddee715b9c52" targetNamespace="http://schemas.microsoft.com/office/2006/metadata/properties" ma:root="true" ma:fieldsID="e789576e8aa79d4a42e0b497042b8456" ns2:_="" ns3:_="">
    <xsd:import namespace="9046b1a9-7a74-4074-b9ae-812fd4e652d5"/>
    <xsd:import namespace="0cc622b6-52b1-46d4-b602-ddee715b9c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46b1a9-7a74-4074-b9ae-812fd4e652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Afbeeldingtags" ma:readOnly="false" ma:fieldId="{5cf76f15-5ced-4ddc-b409-7134ff3c332f}" ma:taxonomyMulti="true" ma:sspId="e63458cd-ce2d-47d3-a8fb-aba961f6e9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c622b6-52b1-46d4-b602-ddee715b9c5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eadd8df-c04c-4e2b-a3b5-c09c9587e346}" ma:internalName="TaxCatchAll" ma:showField="CatchAllData" ma:web="0cc622b6-52b1-46d4-b602-ddee715b9c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637723281537805555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8FAC4D47-63D2-4CDB-80B3-B923AD6B94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B41649-4AB7-4F94-A7F7-61055D41738D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762b415-f648-4d6a-a555-bf4fff79cb2e"/>
    <ds:schemaRef ds:uri="http://purl.org/dc/elements/1.1/"/>
    <ds:schemaRef ds:uri="5e5b133c-cc7e-4cb9-9a37-8c9d0b428f7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961B830-576C-46A1-8FB8-7077158C3871}"/>
</file>

<file path=customXml/itemProps4.xml><?xml version="1.0" encoding="utf-8"?>
<ds:datastoreItem xmlns:ds="http://schemas.openxmlformats.org/officeDocument/2006/customXml" ds:itemID="{9F0E62C3-9A93-4F92-A1D3-BA8C076B42BB}">
  <ds:schemaRefs/>
</ds:datastoreItem>
</file>

<file path=customXml/itemProps5.xml><?xml version="1.0" encoding="utf-8"?>
<ds:datastoreItem xmlns:ds="http://schemas.openxmlformats.org/officeDocument/2006/customXml" ds:itemID="{570387FF-7C07-44A0-9DC1-06C6AFE2CE2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11</TotalTime>
  <Words>1064</Words>
  <Application>Microsoft Office PowerPoint</Application>
  <PresentationFormat>Diavoorstelling (16:9)</PresentationFormat>
  <Paragraphs>118</Paragraphs>
  <Slides>13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Wingdings</vt:lpstr>
      <vt:lpstr>Office Theme</vt:lpstr>
      <vt:lpstr>think-cell Slide</vt:lpstr>
      <vt:lpstr>PowerPoint-presentatie</vt:lpstr>
      <vt:lpstr>PowerPoint-presentatie</vt:lpstr>
      <vt:lpstr>Verduurzamen: wat is dat?</vt:lpstr>
      <vt:lpstr>SDG’s in relatie met de ESG’s</vt:lpstr>
      <vt:lpstr>Positieve impact met de inkoopfunctie</vt:lpstr>
      <vt:lpstr>Environment - klimaat</vt:lpstr>
      <vt:lpstr>Environment - milieu</vt:lpstr>
      <vt:lpstr>Environment – waardebehoud</vt:lpstr>
      <vt:lpstr>Sociaal: sociaal-economisch</vt:lpstr>
      <vt:lpstr>Governance: supplier governance</vt:lpstr>
      <vt:lpstr>Duurzaamheid: niet alleen Klimaat impact (IC analyse 2019)</vt:lpstr>
      <vt:lpstr>PowerPoint-presentatie</vt:lpstr>
      <vt:lpstr>R ladder</vt:lpstr>
    </vt:vector>
  </TitlesOfParts>
  <Company>Erasmus M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ender, Lotte (NL - Amsterdam)</dc:creator>
  <cp:lastModifiedBy>Maarten Timmermann</cp:lastModifiedBy>
  <cp:revision>802</cp:revision>
  <cp:lastPrinted>2019-11-18T08:52:26Z</cp:lastPrinted>
  <dcterms:created xsi:type="dcterms:W3CDTF">2018-04-20T10:14:52Z</dcterms:created>
  <dcterms:modified xsi:type="dcterms:W3CDTF">2025-01-31T09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6D28A44ED8C7429D65F9E1AB9C034D</vt:lpwstr>
  </property>
  <property fmtid="{D5CDD505-2E9C-101B-9397-08002B2CF9AE}" pid="3" name="MediaServiceImageTags">
    <vt:lpwstr/>
  </property>
</Properties>
</file>